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50" r:id="rId5"/>
    <p:sldMasterId id="2147483652" r:id="rId6"/>
    <p:sldMasterId id="2147483656" r:id="rId7"/>
  </p:sldMasterIdLst>
  <p:notesMasterIdLst>
    <p:notesMasterId r:id="rId34"/>
  </p:notesMasterIdLst>
  <p:sldIdLst>
    <p:sldId id="256" r:id="rId8"/>
    <p:sldId id="320" r:id="rId9"/>
    <p:sldId id="355" r:id="rId10"/>
    <p:sldId id="361" r:id="rId11"/>
    <p:sldId id="322" r:id="rId12"/>
    <p:sldId id="367" r:id="rId13"/>
    <p:sldId id="365" r:id="rId14"/>
    <p:sldId id="358" r:id="rId15"/>
    <p:sldId id="357" r:id="rId16"/>
    <p:sldId id="359" r:id="rId17"/>
    <p:sldId id="360" r:id="rId18"/>
    <p:sldId id="356" r:id="rId19"/>
    <p:sldId id="366" r:id="rId20"/>
    <p:sldId id="331" r:id="rId21"/>
    <p:sldId id="329" r:id="rId22"/>
    <p:sldId id="274" r:id="rId23"/>
    <p:sldId id="341" r:id="rId24"/>
    <p:sldId id="362" r:id="rId25"/>
    <p:sldId id="363" r:id="rId26"/>
    <p:sldId id="338" r:id="rId27"/>
    <p:sldId id="339" r:id="rId28"/>
    <p:sldId id="364" r:id="rId29"/>
    <p:sldId id="345" r:id="rId30"/>
    <p:sldId id="354" r:id="rId31"/>
    <p:sldId id="350" r:id="rId32"/>
    <p:sldId id="261" r:id="rId33"/>
  </p:sldIdLst>
  <p:sldSz cx="12192000" cy="6858000"/>
  <p:notesSz cx="6858000" cy="91440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1248D1B-A47A-B7C1-24D9-7127110DF0D0}" name="Guest User" initials="GU" userId="S::urn:spo:anon#5c1cd7b39cb30a75ca1cea0fb2ba435992d6c6a6b484349a9ca7505025227c67::" providerId="AD"/>
  <p188:author id="{F1E6144C-14BA-4EF9-61ED-859BA2598D84}" name="Frances Meek" initials="FM" userId="S::F.Meek@nutrition.org.uk::f3af35cc-3229-46e1-af36-3525661cfbd3" providerId="AD"/>
  <p188:author id="{7ECFBFCA-DD88-6422-7FAF-B5B8619DEB83}" name="Ewen Trafford" initials="EPT" userId="Ewen Trafford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es Meek" initials="FM" lastIdx="2" clrIdx="0">
    <p:extLst>
      <p:ext uri="{19B8F6BF-5375-455C-9EA6-DF929625EA0E}">
        <p15:presenceInfo xmlns:p15="http://schemas.microsoft.com/office/powerpoint/2012/main" userId="S::F.Meek@nutrition.org.uk::f3af35cc-3229-46e1-af36-3525661cfbd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9F3F"/>
    <a:srgbClr val="FCE3C2"/>
    <a:srgbClr val="F9D4B6"/>
    <a:srgbClr val="EDAD80"/>
    <a:srgbClr val="E46B2F"/>
    <a:srgbClr val="ED6B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9FBAEE-E6A3-4774-8C35-9BCE54E14581}" v="4" dt="2022-12-22T09:14:27.619"/>
    <p1510:client id="{8BC1E89D-B205-4FCA-8E72-09FE78A246CE}" v="24" dt="2022-12-22T10:13:21.2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283" autoAdjust="0"/>
  </p:normalViewPr>
  <p:slideViewPr>
    <p:cSldViewPr snapToGrid="0">
      <p:cViewPr varScale="1">
        <p:scale>
          <a:sx n="98" d="100"/>
          <a:sy n="98" d="100"/>
        </p:scale>
        <p:origin x="72" y="3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theme" Target="theme/theme1.xml"/><Relationship Id="rId21" Type="http://schemas.openxmlformats.org/officeDocument/2006/relationships/slide" Target="slides/slide14.xml"/><Relationship Id="rId34" Type="http://schemas.openxmlformats.org/officeDocument/2006/relationships/notesMaster" Target="notesMasters/notesMaster1.xml"/><Relationship Id="rId42" Type="http://schemas.microsoft.com/office/2015/10/relationships/revisionInfo" Target="revisionInfo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commentAuthors" Target="commentAuthor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tags" Target="tags/tag1.xml"/><Relationship Id="rId43" Type="http://schemas.microsoft.com/office/2018/10/relationships/authors" Target="author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wen Trafford" userId="e520b4bf-a196-48b7-bc10-b1590a457daa" providerId="ADAL" clId="{8BC1E89D-B205-4FCA-8E72-09FE78A246CE}"/>
    <pc:docChg chg="undo custSel addSld delSld modSld sldOrd">
      <pc:chgData name="Ewen Trafford" userId="e520b4bf-a196-48b7-bc10-b1590a457daa" providerId="ADAL" clId="{8BC1E89D-B205-4FCA-8E72-09FE78A246CE}" dt="2022-12-22T10:13:48.997" v="8329"/>
      <pc:docMkLst>
        <pc:docMk/>
      </pc:docMkLst>
      <pc:sldChg chg="modSp mod">
        <pc:chgData name="Ewen Trafford" userId="e520b4bf-a196-48b7-bc10-b1590a457daa" providerId="ADAL" clId="{8BC1E89D-B205-4FCA-8E72-09FE78A246CE}" dt="2022-12-20T10:28:09.711" v="1506" actId="20577"/>
        <pc:sldMkLst>
          <pc:docMk/>
          <pc:sldMk cId="1955166399" sldId="256"/>
        </pc:sldMkLst>
        <pc:spChg chg="mod">
          <ac:chgData name="Ewen Trafford" userId="e520b4bf-a196-48b7-bc10-b1590a457daa" providerId="ADAL" clId="{8BC1E89D-B205-4FCA-8E72-09FE78A246CE}" dt="2022-12-20T10:28:09.711" v="1506" actId="20577"/>
          <ac:spMkLst>
            <pc:docMk/>
            <pc:sldMk cId="1955166399" sldId="256"/>
            <ac:spMk id="2" creationId="{00000000-0000-0000-0000-000000000000}"/>
          </ac:spMkLst>
        </pc:spChg>
      </pc:sldChg>
      <pc:sldChg chg="addSp delSp modSp mod">
        <pc:chgData name="Ewen Trafford" userId="e520b4bf-a196-48b7-bc10-b1590a457daa" providerId="ADAL" clId="{8BC1E89D-B205-4FCA-8E72-09FE78A246CE}" dt="2022-12-20T10:28:03.530" v="1487" actId="20577"/>
        <pc:sldMkLst>
          <pc:docMk/>
          <pc:sldMk cId="2302005153" sldId="261"/>
        </pc:sldMkLst>
        <pc:spChg chg="mod">
          <ac:chgData name="Ewen Trafford" userId="e520b4bf-a196-48b7-bc10-b1590a457daa" providerId="ADAL" clId="{8BC1E89D-B205-4FCA-8E72-09FE78A246CE}" dt="2022-12-20T10:28:03.530" v="1487" actId="20577"/>
          <ac:spMkLst>
            <pc:docMk/>
            <pc:sldMk cId="2302005153" sldId="261"/>
            <ac:spMk id="2" creationId="{00000000-0000-0000-0000-000000000000}"/>
          </ac:spMkLst>
        </pc:spChg>
        <pc:spChg chg="del">
          <ac:chgData name="Ewen Trafford" userId="e520b4bf-a196-48b7-bc10-b1590a457daa" providerId="ADAL" clId="{8BC1E89D-B205-4FCA-8E72-09FE78A246CE}" dt="2022-12-09T10:47:07.650" v="25" actId="478"/>
          <ac:spMkLst>
            <pc:docMk/>
            <pc:sldMk cId="2302005153" sldId="261"/>
            <ac:spMk id="3" creationId="{00000000-0000-0000-0000-000000000000}"/>
          </ac:spMkLst>
        </pc:spChg>
        <pc:spChg chg="add del mod">
          <ac:chgData name="Ewen Trafford" userId="e520b4bf-a196-48b7-bc10-b1590a457daa" providerId="ADAL" clId="{8BC1E89D-B205-4FCA-8E72-09FE78A246CE}" dt="2022-12-09T10:47:09.446" v="26" actId="478"/>
          <ac:spMkLst>
            <pc:docMk/>
            <pc:sldMk cId="2302005153" sldId="261"/>
            <ac:spMk id="7" creationId="{3B647002-19C2-D96C-5BFB-590BA591EB3F}"/>
          </ac:spMkLst>
        </pc:spChg>
        <pc:spChg chg="add mod">
          <ac:chgData name="Ewen Trafford" userId="e520b4bf-a196-48b7-bc10-b1590a457daa" providerId="ADAL" clId="{8BC1E89D-B205-4FCA-8E72-09FE78A246CE}" dt="2022-12-09T10:47:09.949" v="27"/>
          <ac:spMkLst>
            <pc:docMk/>
            <pc:sldMk cId="2302005153" sldId="261"/>
            <ac:spMk id="8" creationId="{21856EBA-6E82-ACB4-2EED-47977C11FA08}"/>
          </ac:spMkLst>
        </pc:spChg>
      </pc:sldChg>
      <pc:sldChg chg="modSp mod">
        <pc:chgData name="Ewen Trafford" userId="e520b4bf-a196-48b7-bc10-b1590a457daa" providerId="ADAL" clId="{8BC1E89D-B205-4FCA-8E72-09FE78A246CE}" dt="2022-12-20T15:21:52.037" v="6237" actId="20577"/>
        <pc:sldMkLst>
          <pc:docMk/>
          <pc:sldMk cId="3993973292" sldId="274"/>
        </pc:sldMkLst>
        <pc:spChg chg="mod">
          <ac:chgData name="Ewen Trafford" userId="e520b4bf-a196-48b7-bc10-b1590a457daa" providerId="ADAL" clId="{8BC1E89D-B205-4FCA-8E72-09FE78A246CE}" dt="2022-12-20T15:19:44.771" v="5672" actId="20577"/>
          <ac:spMkLst>
            <pc:docMk/>
            <pc:sldMk cId="3993973292" sldId="274"/>
            <ac:spMk id="2" creationId="{00000000-0000-0000-0000-000000000000}"/>
          </ac:spMkLst>
        </pc:spChg>
        <pc:spChg chg="mod">
          <ac:chgData name="Ewen Trafford" userId="e520b4bf-a196-48b7-bc10-b1590a457daa" providerId="ADAL" clId="{8BC1E89D-B205-4FCA-8E72-09FE78A246CE}" dt="2022-12-20T15:21:52.037" v="6237" actId="20577"/>
          <ac:spMkLst>
            <pc:docMk/>
            <pc:sldMk cId="3993973292" sldId="274"/>
            <ac:spMk id="6" creationId="{A705A842-B67A-1091-B43C-016955CEB56E}"/>
          </ac:spMkLst>
        </pc:spChg>
      </pc:sldChg>
      <pc:sldChg chg="addSp delSp modSp mod modAnim">
        <pc:chgData name="Ewen Trafford" userId="e520b4bf-a196-48b7-bc10-b1590a457daa" providerId="ADAL" clId="{8BC1E89D-B205-4FCA-8E72-09FE78A246CE}" dt="2022-12-22T09:52:16.594" v="8017" actId="1076"/>
        <pc:sldMkLst>
          <pc:docMk/>
          <pc:sldMk cId="2831772784" sldId="320"/>
        </pc:sldMkLst>
        <pc:spChg chg="mod">
          <ac:chgData name="Ewen Trafford" userId="e520b4bf-a196-48b7-bc10-b1590a457daa" providerId="ADAL" clId="{8BC1E89D-B205-4FCA-8E72-09FE78A246CE}" dt="2022-12-09T10:51:50.449" v="64" actId="20577"/>
          <ac:spMkLst>
            <pc:docMk/>
            <pc:sldMk cId="2831772784" sldId="320"/>
            <ac:spMk id="2" creationId="{9B56DC22-08AB-0D91-7AB6-8D24F66397BF}"/>
          </ac:spMkLst>
        </pc:spChg>
        <pc:spChg chg="mod">
          <ac:chgData name="Ewen Trafford" userId="e520b4bf-a196-48b7-bc10-b1590a457daa" providerId="ADAL" clId="{8BC1E89D-B205-4FCA-8E72-09FE78A246CE}" dt="2022-12-22T09:51:45.872" v="8008" actId="14100"/>
          <ac:spMkLst>
            <pc:docMk/>
            <pc:sldMk cId="2831772784" sldId="320"/>
            <ac:spMk id="3" creationId="{B08F7FAB-511F-7730-95EA-CDCD60827684}"/>
          </ac:spMkLst>
        </pc:spChg>
        <pc:spChg chg="add mod ord">
          <ac:chgData name="Ewen Trafford" userId="e520b4bf-a196-48b7-bc10-b1590a457daa" providerId="ADAL" clId="{8BC1E89D-B205-4FCA-8E72-09FE78A246CE}" dt="2022-12-22T09:52:09.085" v="8014" actId="1076"/>
          <ac:spMkLst>
            <pc:docMk/>
            <pc:sldMk cId="2831772784" sldId="320"/>
            <ac:spMk id="6" creationId="{438EFE34-85E5-45C8-FB92-9802905367E8}"/>
          </ac:spMkLst>
        </pc:spChg>
        <pc:spChg chg="add mod">
          <ac:chgData name="Ewen Trafford" userId="e520b4bf-a196-48b7-bc10-b1590a457daa" providerId="ADAL" clId="{8BC1E89D-B205-4FCA-8E72-09FE78A246CE}" dt="2022-12-22T09:52:11.384" v="8015" actId="1076"/>
          <ac:spMkLst>
            <pc:docMk/>
            <pc:sldMk cId="2831772784" sldId="320"/>
            <ac:spMk id="7" creationId="{F840FDCF-825E-79AC-F7CD-7FD4C72F180B}"/>
          </ac:spMkLst>
        </pc:spChg>
        <pc:spChg chg="add mod ord">
          <ac:chgData name="Ewen Trafford" userId="e520b4bf-a196-48b7-bc10-b1590a457daa" providerId="ADAL" clId="{8BC1E89D-B205-4FCA-8E72-09FE78A246CE}" dt="2022-12-22T09:52:09.085" v="8014" actId="1076"/>
          <ac:spMkLst>
            <pc:docMk/>
            <pc:sldMk cId="2831772784" sldId="320"/>
            <ac:spMk id="11" creationId="{F2D8EB4A-B8CE-EC6F-D343-D3FD06E4D755}"/>
          </ac:spMkLst>
        </pc:spChg>
        <pc:picChg chg="add mod">
          <ac:chgData name="Ewen Trafford" userId="e520b4bf-a196-48b7-bc10-b1590a457daa" providerId="ADAL" clId="{8BC1E89D-B205-4FCA-8E72-09FE78A246CE}" dt="2022-12-22T09:52:16.594" v="8017" actId="1076"/>
          <ac:picMkLst>
            <pc:docMk/>
            <pc:sldMk cId="2831772784" sldId="320"/>
            <ac:picMk id="4" creationId="{80601EFB-AA08-31CE-5D90-CA5AA39C1C3F}"/>
          </ac:picMkLst>
        </pc:picChg>
        <pc:picChg chg="add mod ord modCrop">
          <ac:chgData name="Ewen Trafford" userId="e520b4bf-a196-48b7-bc10-b1590a457daa" providerId="ADAL" clId="{8BC1E89D-B205-4FCA-8E72-09FE78A246CE}" dt="2022-12-22T09:52:09.085" v="8014" actId="1076"/>
          <ac:picMkLst>
            <pc:docMk/>
            <pc:sldMk cId="2831772784" sldId="320"/>
            <ac:picMk id="5" creationId="{11F1BB30-EC72-D5B7-3AF2-2E77C5E52907}"/>
          </ac:picMkLst>
        </pc:picChg>
        <pc:picChg chg="del">
          <ac:chgData name="Ewen Trafford" userId="e520b4bf-a196-48b7-bc10-b1590a457daa" providerId="ADAL" clId="{8BC1E89D-B205-4FCA-8E72-09FE78A246CE}" dt="2022-12-09T10:45:37.867" v="6" actId="478"/>
          <ac:picMkLst>
            <pc:docMk/>
            <pc:sldMk cId="2831772784" sldId="320"/>
            <ac:picMk id="8194" creationId="{86C749E3-951D-48B7-AC0D-E75B5DA10A49}"/>
          </ac:picMkLst>
        </pc:picChg>
        <pc:cxnChg chg="add mod ord">
          <ac:chgData name="Ewen Trafford" userId="e520b4bf-a196-48b7-bc10-b1590a457daa" providerId="ADAL" clId="{8BC1E89D-B205-4FCA-8E72-09FE78A246CE}" dt="2022-12-22T09:52:09.085" v="8014" actId="1076"/>
          <ac:cxnSpMkLst>
            <pc:docMk/>
            <pc:sldMk cId="2831772784" sldId="320"/>
            <ac:cxnSpMk id="9" creationId="{0214D40A-A618-AAEA-4320-84754F63C1A3}"/>
          </ac:cxnSpMkLst>
        </pc:cxnChg>
      </pc:sldChg>
      <pc:sldChg chg="modSp del">
        <pc:chgData name="Ewen Trafford" userId="e520b4bf-a196-48b7-bc10-b1590a457daa" providerId="ADAL" clId="{8BC1E89D-B205-4FCA-8E72-09FE78A246CE}" dt="2022-12-09T10:45:46.712" v="8" actId="47"/>
        <pc:sldMkLst>
          <pc:docMk/>
          <pc:sldMk cId="1195441026" sldId="321"/>
        </pc:sldMkLst>
        <pc:spChg chg="mod">
          <ac:chgData name="Ewen Trafford" userId="e520b4bf-a196-48b7-bc10-b1590a457daa" providerId="ADAL" clId="{8BC1E89D-B205-4FCA-8E72-09FE78A246CE}" dt="2022-12-09T10:44:19.253" v="1"/>
          <ac:spMkLst>
            <pc:docMk/>
            <pc:sldMk cId="1195441026" sldId="321"/>
            <ac:spMk id="2" creationId="{8C8F01D9-49FA-6C29-3674-01A422037CD5}"/>
          </ac:spMkLst>
        </pc:spChg>
        <pc:spChg chg="mod">
          <ac:chgData name="Ewen Trafford" userId="e520b4bf-a196-48b7-bc10-b1590a457daa" providerId="ADAL" clId="{8BC1E89D-B205-4FCA-8E72-09FE78A246CE}" dt="2022-12-09T10:44:19.253" v="1"/>
          <ac:spMkLst>
            <pc:docMk/>
            <pc:sldMk cId="1195441026" sldId="321"/>
            <ac:spMk id="3" creationId="{11F1639A-5BD0-7C4B-622B-50E9B9EA0EE0}"/>
          </ac:spMkLst>
        </pc:spChg>
      </pc:sldChg>
      <pc:sldChg chg="addSp delSp modSp mod delCm modCm">
        <pc:chgData name="Ewen Trafford" userId="e520b4bf-a196-48b7-bc10-b1590a457daa" providerId="ADAL" clId="{8BC1E89D-B205-4FCA-8E72-09FE78A246CE}" dt="2022-12-22T09:51:04.870" v="7999"/>
        <pc:sldMkLst>
          <pc:docMk/>
          <pc:sldMk cId="2939149858" sldId="322"/>
        </pc:sldMkLst>
        <pc:spChg chg="mod">
          <ac:chgData name="Ewen Trafford" userId="e520b4bf-a196-48b7-bc10-b1590a457daa" providerId="ADAL" clId="{8BC1E89D-B205-4FCA-8E72-09FE78A246CE}" dt="2022-12-20T10:26:38.810" v="1435" actId="20577"/>
          <ac:spMkLst>
            <pc:docMk/>
            <pc:sldMk cId="2939149858" sldId="322"/>
            <ac:spMk id="2" creationId="{C0656FD1-4489-F55F-822B-620888FD55A9}"/>
          </ac:spMkLst>
        </pc:spChg>
        <pc:spChg chg="mod">
          <ac:chgData name="Ewen Trafford" userId="e520b4bf-a196-48b7-bc10-b1590a457daa" providerId="ADAL" clId="{8BC1E89D-B205-4FCA-8E72-09FE78A246CE}" dt="2022-12-22T09:51:04.870" v="7999"/>
          <ac:spMkLst>
            <pc:docMk/>
            <pc:sldMk cId="2939149858" sldId="322"/>
            <ac:spMk id="3" creationId="{BE28E501-5A4E-D1A3-A7D8-65D153A748C4}"/>
          </ac:spMkLst>
        </pc:spChg>
        <pc:spChg chg="mod">
          <ac:chgData name="Ewen Trafford" userId="e520b4bf-a196-48b7-bc10-b1590a457daa" providerId="ADAL" clId="{8BC1E89D-B205-4FCA-8E72-09FE78A246CE}" dt="2022-12-20T10:19:18.237" v="793" actId="20577"/>
          <ac:spMkLst>
            <pc:docMk/>
            <pc:sldMk cId="2939149858" sldId="322"/>
            <ac:spMk id="6" creationId="{37F21B2D-0E3B-42DC-85A8-4511EB39D461}"/>
          </ac:spMkLst>
        </pc:spChg>
        <pc:picChg chg="add mod">
          <ac:chgData name="Ewen Trafford" userId="e520b4bf-a196-48b7-bc10-b1590a457daa" providerId="ADAL" clId="{8BC1E89D-B205-4FCA-8E72-09FE78A246CE}" dt="2022-12-20T14:37:37.791" v="3077" actId="1076"/>
          <ac:picMkLst>
            <pc:docMk/>
            <pc:sldMk cId="2939149858" sldId="322"/>
            <ac:picMk id="5" creationId="{3544789E-1E8C-FE60-E2E3-0552BC23C0AE}"/>
          </ac:picMkLst>
        </pc:picChg>
        <pc:picChg chg="del">
          <ac:chgData name="Ewen Trafford" userId="e520b4bf-a196-48b7-bc10-b1590a457daa" providerId="ADAL" clId="{8BC1E89D-B205-4FCA-8E72-09FE78A246CE}" dt="2022-12-09T10:44:38.931" v="5" actId="478"/>
          <ac:picMkLst>
            <pc:docMk/>
            <pc:sldMk cId="2939149858" sldId="322"/>
            <ac:picMk id="9218" creationId="{D3E4E176-8338-46ED-93E7-BF00525E8562}"/>
          </ac:picMkLst>
        </pc:picChg>
      </pc:sldChg>
      <pc:sldChg chg="modSp del">
        <pc:chgData name="Ewen Trafford" userId="e520b4bf-a196-48b7-bc10-b1590a457daa" providerId="ADAL" clId="{8BC1E89D-B205-4FCA-8E72-09FE78A246CE}" dt="2022-12-09T10:45:48.857" v="9" actId="47"/>
        <pc:sldMkLst>
          <pc:docMk/>
          <pc:sldMk cId="1855309931" sldId="323"/>
        </pc:sldMkLst>
        <pc:spChg chg="mod">
          <ac:chgData name="Ewen Trafford" userId="e520b4bf-a196-48b7-bc10-b1590a457daa" providerId="ADAL" clId="{8BC1E89D-B205-4FCA-8E72-09FE78A246CE}" dt="2022-12-09T10:44:19.253" v="1"/>
          <ac:spMkLst>
            <pc:docMk/>
            <pc:sldMk cId="1855309931" sldId="323"/>
            <ac:spMk id="2" creationId="{CF40B81A-2823-8056-34AE-B3308191DF5B}"/>
          </ac:spMkLst>
        </pc:spChg>
        <pc:spChg chg="mod">
          <ac:chgData name="Ewen Trafford" userId="e520b4bf-a196-48b7-bc10-b1590a457daa" providerId="ADAL" clId="{8BC1E89D-B205-4FCA-8E72-09FE78A246CE}" dt="2022-12-09T10:44:19.253" v="1"/>
          <ac:spMkLst>
            <pc:docMk/>
            <pc:sldMk cId="1855309931" sldId="323"/>
            <ac:spMk id="3" creationId="{53B4885A-37FC-0B67-2285-D9A9B9DC8C09}"/>
          </ac:spMkLst>
        </pc:spChg>
      </pc:sldChg>
      <pc:sldChg chg="modSp del">
        <pc:chgData name="Ewen Trafford" userId="e520b4bf-a196-48b7-bc10-b1590a457daa" providerId="ADAL" clId="{8BC1E89D-B205-4FCA-8E72-09FE78A246CE}" dt="2022-12-09T10:45:49.980" v="10" actId="47"/>
        <pc:sldMkLst>
          <pc:docMk/>
          <pc:sldMk cId="1577086551" sldId="325"/>
        </pc:sldMkLst>
        <pc:spChg chg="mod">
          <ac:chgData name="Ewen Trafford" userId="e520b4bf-a196-48b7-bc10-b1590a457daa" providerId="ADAL" clId="{8BC1E89D-B205-4FCA-8E72-09FE78A246CE}" dt="2022-12-09T10:44:19.253" v="1"/>
          <ac:spMkLst>
            <pc:docMk/>
            <pc:sldMk cId="1577086551" sldId="325"/>
            <ac:spMk id="3" creationId="{25ECF5C8-B231-B34A-F7D8-C96CD9FECAD2}"/>
          </ac:spMkLst>
        </pc:spChg>
      </pc:sldChg>
      <pc:sldChg chg="del">
        <pc:chgData name="Ewen Trafford" userId="e520b4bf-a196-48b7-bc10-b1590a457daa" providerId="ADAL" clId="{8BC1E89D-B205-4FCA-8E72-09FE78A246CE}" dt="2022-12-09T10:45:55.143" v="13" actId="47"/>
        <pc:sldMkLst>
          <pc:docMk/>
          <pc:sldMk cId="2100916119" sldId="326"/>
        </pc:sldMkLst>
      </pc:sldChg>
      <pc:sldChg chg="addSp delSp modSp mod delCm modCm">
        <pc:chgData name="Ewen Trafford" userId="e520b4bf-a196-48b7-bc10-b1590a457daa" providerId="ADAL" clId="{8BC1E89D-B205-4FCA-8E72-09FE78A246CE}" dt="2022-12-22T10:03:37.601" v="8149"/>
        <pc:sldMkLst>
          <pc:docMk/>
          <pc:sldMk cId="3594171061" sldId="331"/>
        </pc:sldMkLst>
        <pc:spChg chg="add mod">
          <ac:chgData name="Ewen Trafford" userId="e520b4bf-a196-48b7-bc10-b1590a457daa" providerId="ADAL" clId="{8BC1E89D-B205-4FCA-8E72-09FE78A246CE}" dt="2022-12-22T10:03:34.430" v="8148" actId="20577"/>
          <ac:spMkLst>
            <pc:docMk/>
            <pc:sldMk cId="3594171061" sldId="331"/>
            <ac:spMk id="3" creationId="{8BFC13AA-038A-727F-E0C0-5CF3A7F6DDA0}"/>
          </ac:spMkLst>
        </pc:spChg>
        <pc:spChg chg="del">
          <ac:chgData name="Ewen Trafford" userId="e520b4bf-a196-48b7-bc10-b1590a457daa" providerId="ADAL" clId="{8BC1E89D-B205-4FCA-8E72-09FE78A246CE}" dt="2022-12-09T11:01:53.635" v="354" actId="478"/>
          <ac:spMkLst>
            <pc:docMk/>
            <pc:sldMk cId="3594171061" sldId="331"/>
            <ac:spMk id="3" creationId="{F125752D-9A62-EC8F-B592-EBFBCA644C0A}"/>
          </ac:spMkLst>
        </pc:spChg>
        <pc:graphicFrameChg chg="mod modGraphic">
          <ac:chgData name="Ewen Trafford" userId="e520b4bf-a196-48b7-bc10-b1590a457daa" providerId="ADAL" clId="{8BC1E89D-B205-4FCA-8E72-09FE78A246CE}" dt="2022-12-22T09:54:48.382" v="8067" actId="20577"/>
          <ac:graphicFrameMkLst>
            <pc:docMk/>
            <pc:sldMk cId="3594171061" sldId="331"/>
            <ac:graphicFrameMk id="4" creationId="{852C40F4-3A0C-2C57-5C1A-53EF072895F3}"/>
          </ac:graphicFrameMkLst>
        </pc:graphicFrameChg>
      </pc:sldChg>
      <pc:sldChg chg="del">
        <pc:chgData name="Ewen Trafford" userId="e520b4bf-a196-48b7-bc10-b1590a457daa" providerId="ADAL" clId="{8BC1E89D-B205-4FCA-8E72-09FE78A246CE}" dt="2022-12-09T10:45:56.349" v="14" actId="47"/>
        <pc:sldMkLst>
          <pc:docMk/>
          <pc:sldMk cId="2621305010" sldId="333"/>
        </pc:sldMkLst>
      </pc:sldChg>
      <pc:sldChg chg="modSp del">
        <pc:chgData name="Ewen Trafford" userId="e520b4bf-a196-48b7-bc10-b1590a457daa" providerId="ADAL" clId="{8BC1E89D-B205-4FCA-8E72-09FE78A246CE}" dt="2022-12-09T10:45:54.377" v="12" actId="47"/>
        <pc:sldMkLst>
          <pc:docMk/>
          <pc:sldMk cId="568958115" sldId="335"/>
        </pc:sldMkLst>
        <pc:spChg chg="mod">
          <ac:chgData name="Ewen Trafford" userId="e520b4bf-a196-48b7-bc10-b1590a457daa" providerId="ADAL" clId="{8BC1E89D-B205-4FCA-8E72-09FE78A246CE}" dt="2022-12-09T10:44:19.253" v="1"/>
          <ac:spMkLst>
            <pc:docMk/>
            <pc:sldMk cId="568958115" sldId="335"/>
            <ac:spMk id="3" creationId="{7A1ACDE8-06F6-9A1F-FEA6-E8329882C225}"/>
          </ac:spMkLst>
        </pc:spChg>
      </pc:sldChg>
      <pc:sldChg chg="addSp modSp mod">
        <pc:chgData name="Ewen Trafford" userId="e520b4bf-a196-48b7-bc10-b1590a457daa" providerId="ADAL" clId="{8BC1E89D-B205-4FCA-8E72-09FE78A246CE}" dt="2022-12-20T15:23:19.700" v="6252" actId="20577"/>
        <pc:sldMkLst>
          <pc:docMk/>
          <pc:sldMk cId="2046763801" sldId="338"/>
        </pc:sldMkLst>
        <pc:spChg chg="mod">
          <ac:chgData name="Ewen Trafford" userId="e520b4bf-a196-48b7-bc10-b1590a457daa" providerId="ADAL" clId="{8BC1E89D-B205-4FCA-8E72-09FE78A246CE}" dt="2022-12-09T10:46:14.271" v="21" actId="20577"/>
          <ac:spMkLst>
            <pc:docMk/>
            <pc:sldMk cId="2046763801" sldId="338"/>
            <ac:spMk id="2" creationId="{CB2517A4-E10A-E444-1061-434E356416A6}"/>
          </ac:spMkLst>
        </pc:spChg>
        <pc:spChg chg="mod">
          <ac:chgData name="Ewen Trafford" userId="e520b4bf-a196-48b7-bc10-b1590a457daa" providerId="ADAL" clId="{8BC1E89D-B205-4FCA-8E72-09FE78A246CE}" dt="2022-12-20T15:23:19.700" v="6252" actId="20577"/>
          <ac:spMkLst>
            <pc:docMk/>
            <pc:sldMk cId="2046763801" sldId="338"/>
            <ac:spMk id="3" creationId="{CDC99BCA-D4B3-5B9E-85FC-708932B92CBD}"/>
          </ac:spMkLst>
        </pc:spChg>
        <pc:picChg chg="add mod">
          <ac:chgData name="Ewen Trafford" userId="e520b4bf-a196-48b7-bc10-b1590a457daa" providerId="ADAL" clId="{8BC1E89D-B205-4FCA-8E72-09FE78A246CE}" dt="2022-12-20T15:23:14.071" v="6250" actId="1076"/>
          <ac:picMkLst>
            <pc:docMk/>
            <pc:sldMk cId="2046763801" sldId="338"/>
            <ac:picMk id="4" creationId="{2F9F048E-73E4-8DBF-60A9-9D7E8B2E2417}"/>
          </ac:picMkLst>
        </pc:picChg>
      </pc:sldChg>
      <pc:sldChg chg="addSp modSp mod">
        <pc:chgData name="Ewen Trafford" userId="e520b4bf-a196-48b7-bc10-b1590a457daa" providerId="ADAL" clId="{8BC1E89D-B205-4FCA-8E72-09FE78A246CE}" dt="2022-12-20T15:30:01.661" v="6654" actId="1076"/>
        <pc:sldMkLst>
          <pc:docMk/>
          <pc:sldMk cId="2070260529" sldId="339"/>
        </pc:sldMkLst>
        <pc:spChg chg="mod">
          <ac:chgData name="Ewen Trafford" userId="e520b4bf-a196-48b7-bc10-b1590a457daa" providerId="ADAL" clId="{8BC1E89D-B205-4FCA-8E72-09FE78A246CE}" dt="2022-12-20T15:02:29.651" v="4719" actId="20577"/>
          <ac:spMkLst>
            <pc:docMk/>
            <pc:sldMk cId="2070260529" sldId="339"/>
            <ac:spMk id="2" creationId="{7F902433-BE09-580A-3E8C-C0DDD80ACC8F}"/>
          </ac:spMkLst>
        </pc:spChg>
        <pc:spChg chg="mod">
          <ac:chgData name="Ewen Trafford" userId="e520b4bf-a196-48b7-bc10-b1590a457daa" providerId="ADAL" clId="{8BC1E89D-B205-4FCA-8E72-09FE78A246CE}" dt="2022-12-20T15:29:56.340" v="6650" actId="14100"/>
          <ac:spMkLst>
            <pc:docMk/>
            <pc:sldMk cId="2070260529" sldId="339"/>
            <ac:spMk id="3" creationId="{82844BDE-4E6A-0B46-4D93-2FCABBF069E7}"/>
          </ac:spMkLst>
        </pc:spChg>
        <pc:picChg chg="add mod">
          <ac:chgData name="Ewen Trafford" userId="e520b4bf-a196-48b7-bc10-b1590a457daa" providerId="ADAL" clId="{8BC1E89D-B205-4FCA-8E72-09FE78A246CE}" dt="2022-12-20T15:30:01.661" v="6654" actId="1076"/>
          <ac:picMkLst>
            <pc:docMk/>
            <pc:sldMk cId="2070260529" sldId="339"/>
            <ac:picMk id="4" creationId="{632F0D8B-C6B7-D08A-93FD-3532395F6865}"/>
          </ac:picMkLst>
        </pc:picChg>
      </pc:sldChg>
      <pc:sldChg chg="addSp modSp mod modAnim delCm">
        <pc:chgData name="Ewen Trafford" userId="e520b4bf-a196-48b7-bc10-b1590a457daa" providerId="ADAL" clId="{8BC1E89D-B205-4FCA-8E72-09FE78A246CE}" dt="2022-12-22T09:52:21.167" v="8018"/>
        <pc:sldMkLst>
          <pc:docMk/>
          <pc:sldMk cId="1867798484" sldId="341"/>
        </pc:sldMkLst>
        <pc:spChg chg="mod">
          <ac:chgData name="Ewen Trafford" userId="e520b4bf-a196-48b7-bc10-b1590a457daa" providerId="ADAL" clId="{8BC1E89D-B205-4FCA-8E72-09FE78A246CE}" dt="2022-12-20T15:01:02.260" v="4687" actId="20577"/>
          <ac:spMkLst>
            <pc:docMk/>
            <pc:sldMk cId="1867798484" sldId="341"/>
            <ac:spMk id="2" creationId="{9B56DC22-08AB-0D91-7AB6-8D24F66397BF}"/>
          </ac:spMkLst>
        </pc:spChg>
        <pc:spChg chg="mod">
          <ac:chgData name="Ewen Trafford" userId="e520b4bf-a196-48b7-bc10-b1590a457daa" providerId="ADAL" clId="{8BC1E89D-B205-4FCA-8E72-09FE78A246CE}" dt="2022-12-20T15:22:49.760" v="6245" actId="14100"/>
          <ac:spMkLst>
            <pc:docMk/>
            <pc:sldMk cId="1867798484" sldId="341"/>
            <ac:spMk id="3" creationId="{B08F7FAB-511F-7730-95EA-CDCD60827684}"/>
          </ac:spMkLst>
        </pc:spChg>
        <pc:spChg chg="add mod">
          <ac:chgData name="Ewen Trafford" userId="e520b4bf-a196-48b7-bc10-b1590a457daa" providerId="ADAL" clId="{8BC1E89D-B205-4FCA-8E72-09FE78A246CE}" dt="2022-12-20T15:23:03.909" v="6248" actId="1076"/>
          <ac:spMkLst>
            <pc:docMk/>
            <pc:sldMk cId="1867798484" sldId="341"/>
            <ac:spMk id="6" creationId="{B2CA280E-DC0A-8F8A-A4BF-39ED16C07BF4}"/>
          </ac:spMkLst>
        </pc:spChg>
        <pc:spChg chg="add mod">
          <ac:chgData name="Ewen Trafford" userId="e520b4bf-a196-48b7-bc10-b1590a457daa" providerId="ADAL" clId="{8BC1E89D-B205-4FCA-8E72-09FE78A246CE}" dt="2022-12-20T15:23:03.909" v="6248" actId="1076"/>
          <ac:spMkLst>
            <pc:docMk/>
            <pc:sldMk cId="1867798484" sldId="341"/>
            <ac:spMk id="8" creationId="{FB4978F8-AB03-3086-C78C-327D843C1E1B}"/>
          </ac:spMkLst>
        </pc:spChg>
        <pc:picChg chg="add mod">
          <ac:chgData name="Ewen Trafford" userId="e520b4bf-a196-48b7-bc10-b1590a457daa" providerId="ADAL" clId="{8BC1E89D-B205-4FCA-8E72-09FE78A246CE}" dt="2022-12-20T15:22:52.624" v="6246" actId="1076"/>
          <ac:picMkLst>
            <pc:docMk/>
            <pc:sldMk cId="1867798484" sldId="341"/>
            <ac:picMk id="4" creationId="{33E89CB3-99B0-D354-F193-D2399B75559D}"/>
          </ac:picMkLst>
        </pc:picChg>
        <pc:picChg chg="add mod">
          <ac:chgData name="Ewen Trafford" userId="e520b4bf-a196-48b7-bc10-b1590a457daa" providerId="ADAL" clId="{8BC1E89D-B205-4FCA-8E72-09FE78A246CE}" dt="2022-12-20T15:23:03.909" v="6248" actId="1076"/>
          <ac:picMkLst>
            <pc:docMk/>
            <pc:sldMk cId="1867798484" sldId="341"/>
            <ac:picMk id="5" creationId="{6EA2670F-B944-7888-570A-84EB4B1399E8}"/>
          </ac:picMkLst>
        </pc:picChg>
        <pc:cxnChg chg="add mod">
          <ac:chgData name="Ewen Trafford" userId="e520b4bf-a196-48b7-bc10-b1590a457daa" providerId="ADAL" clId="{8BC1E89D-B205-4FCA-8E72-09FE78A246CE}" dt="2022-12-20T15:23:03.909" v="6248" actId="1076"/>
          <ac:cxnSpMkLst>
            <pc:docMk/>
            <pc:sldMk cId="1867798484" sldId="341"/>
            <ac:cxnSpMk id="7" creationId="{110CA8F5-1938-2883-668C-F0DB5848B014}"/>
          </ac:cxnSpMkLst>
        </pc:cxnChg>
      </pc:sldChg>
      <pc:sldChg chg="addSp delSp modSp mod delCm">
        <pc:chgData name="Ewen Trafford" userId="e520b4bf-a196-48b7-bc10-b1590a457daa" providerId="ADAL" clId="{8BC1E89D-B205-4FCA-8E72-09FE78A246CE}" dt="2022-12-22T10:13:29.775" v="8328"/>
        <pc:sldMkLst>
          <pc:docMk/>
          <pc:sldMk cId="1628781729" sldId="345"/>
        </pc:sldMkLst>
        <pc:spChg chg="mod">
          <ac:chgData name="Ewen Trafford" userId="e520b4bf-a196-48b7-bc10-b1590a457daa" providerId="ADAL" clId="{8BC1E89D-B205-4FCA-8E72-09FE78A246CE}" dt="2022-12-20T15:04:23.635" v="4814" actId="20577"/>
          <ac:spMkLst>
            <pc:docMk/>
            <pc:sldMk cId="1628781729" sldId="345"/>
            <ac:spMk id="2" creationId="{74B8B1D9-E25C-F40A-522B-54113616FBDB}"/>
          </ac:spMkLst>
        </pc:spChg>
        <pc:spChg chg="mod">
          <ac:chgData name="Ewen Trafford" userId="e520b4bf-a196-48b7-bc10-b1590a457daa" providerId="ADAL" clId="{8BC1E89D-B205-4FCA-8E72-09FE78A246CE}" dt="2022-12-22T10:13:10.320" v="8327" actId="20577"/>
          <ac:spMkLst>
            <pc:docMk/>
            <pc:sldMk cId="1628781729" sldId="345"/>
            <ac:spMk id="3" creationId="{8CAB9D22-B491-9AFA-4800-DD173F69AF8D}"/>
          </ac:spMkLst>
        </pc:spChg>
        <pc:spChg chg="add del mod">
          <ac:chgData name="Ewen Trafford" userId="e520b4bf-a196-48b7-bc10-b1590a457daa" providerId="ADAL" clId="{8BC1E89D-B205-4FCA-8E72-09FE78A246CE}" dt="2022-12-20T15:04:28.815" v="4815" actId="478"/>
          <ac:spMkLst>
            <pc:docMk/>
            <pc:sldMk cId="1628781729" sldId="345"/>
            <ac:spMk id="4" creationId="{1C3AB304-836A-D01C-8355-B18BDB786BAC}"/>
          </ac:spMkLst>
        </pc:spChg>
      </pc:sldChg>
      <pc:sldChg chg="del">
        <pc:chgData name="Ewen Trafford" userId="e520b4bf-a196-48b7-bc10-b1590a457daa" providerId="ADAL" clId="{8BC1E89D-B205-4FCA-8E72-09FE78A246CE}" dt="2022-12-20T15:02:48.190" v="4734" actId="47"/>
        <pc:sldMkLst>
          <pc:docMk/>
          <pc:sldMk cId="2216651741" sldId="349"/>
        </pc:sldMkLst>
      </pc:sldChg>
      <pc:sldChg chg="modSp mod">
        <pc:chgData name="Ewen Trafford" userId="e520b4bf-a196-48b7-bc10-b1590a457daa" providerId="ADAL" clId="{8BC1E89D-B205-4FCA-8E72-09FE78A246CE}" dt="2022-12-20T15:18:36.957" v="5598" actId="20577"/>
        <pc:sldMkLst>
          <pc:docMk/>
          <pc:sldMk cId="1044731279" sldId="350"/>
        </pc:sldMkLst>
        <pc:spChg chg="mod">
          <ac:chgData name="Ewen Trafford" userId="e520b4bf-a196-48b7-bc10-b1590a457daa" providerId="ADAL" clId="{8BC1E89D-B205-4FCA-8E72-09FE78A246CE}" dt="2022-12-20T15:03:12.377" v="4766" actId="20577"/>
          <ac:spMkLst>
            <pc:docMk/>
            <pc:sldMk cId="1044731279" sldId="350"/>
            <ac:spMk id="2" creationId="{09C8F7D6-0DE9-55CD-510F-91955FB21153}"/>
          </ac:spMkLst>
        </pc:spChg>
        <pc:spChg chg="mod">
          <ac:chgData name="Ewen Trafford" userId="e520b4bf-a196-48b7-bc10-b1590a457daa" providerId="ADAL" clId="{8BC1E89D-B205-4FCA-8E72-09FE78A246CE}" dt="2022-12-20T15:18:36.957" v="5598" actId="20577"/>
          <ac:spMkLst>
            <pc:docMk/>
            <pc:sldMk cId="1044731279" sldId="350"/>
            <ac:spMk id="3" creationId="{3F4AB2AE-64C7-4EAD-7377-33BA885C3FC6}"/>
          </ac:spMkLst>
        </pc:spChg>
      </pc:sldChg>
      <pc:sldChg chg="modSp mod delCm">
        <pc:chgData name="Ewen Trafford" userId="e520b4bf-a196-48b7-bc10-b1590a457daa" providerId="ADAL" clId="{8BC1E89D-B205-4FCA-8E72-09FE78A246CE}" dt="2022-12-22T10:04:40.531" v="8206"/>
        <pc:sldMkLst>
          <pc:docMk/>
          <pc:sldMk cId="1109679171" sldId="354"/>
        </pc:sldMkLst>
        <pc:spChg chg="mod">
          <ac:chgData name="Ewen Trafford" userId="e520b4bf-a196-48b7-bc10-b1590a457daa" providerId="ADAL" clId="{8BC1E89D-B205-4FCA-8E72-09FE78A246CE}" dt="2022-12-22T10:04:12.588" v="8205" actId="20577"/>
          <ac:spMkLst>
            <pc:docMk/>
            <pc:sldMk cId="1109679171" sldId="354"/>
            <ac:spMk id="3" creationId="{5204CA75-A31A-AD47-DC3C-C19E15F38F87}"/>
          </ac:spMkLst>
        </pc:spChg>
      </pc:sldChg>
      <pc:sldChg chg="del">
        <pc:chgData name="Ewen Trafford" userId="e520b4bf-a196-48b7-bc10-b1590a457daa" providerId="ADAL" clId="{8BC1E89D-B205-4FCA-8E72-09FE78A246CE}" dt="2022-12-09T10:45:53.030" v="11" actId="47"/>
        <pc:sldMkLst>
          <pc:docMk/>
          <pc:sldMk cId="357386720" sldId="355"/>
        </pc:sldMkLst>
      </pc:sldChg>
      <pc:sldChg chg="addSp delSp modSp add mod delCm">
        <pc:chgData name="Ewen Trafford" userId="e520b4bf-a196-48b7-bc10-b1590a457daa" providerId="ADAL" clId="{8BC1E89D-B205-4FCA-8E72-09FE78A246CE}" dt="2022-12-22T09:37:40.950" v="7420"/>
        <pc:sldMkLst>
          <pc:docMk/>
          <pc:sldMk cId="575452230" sldId="355"/>
        </pc:sldMkLst>
        <pc:spChg chg="mod">
          <ac:chgData name="Ewen Trafford" userId="e520b4bf-a196-48b7-bc10-b1590a457daa" providerId="ADAL" clId="{8BC1E89D-B205-4FCA-8E72-09FE78A246CE}" dt="2022-12-09T10:52:03.230" v="86" actId="20577"/>
          <ac:spMkLst>
            <pc:docMk/>
            <pc:sldMk cId="575452230" sldId="355"/>
            <ac:spMk id="2" creationId="{C0656FD1-4489-F55F-822B-620888FD55A9}"/>
          </ac:spMkLst>
        </pc:spChg>
        <pc:spChg chg="del">
          <ac:chgData name="Ewen Trafford" userId="e520b4bf-a196-48b7-bc10-b1590a457daa" providerId="ADAL" clId="{8BC1E89D-B205-4FCA-8E72-09FE78A246CE}" dt="2022-12-09T10:52:06.019" v="87" actId="478"/>
          <ac:spMkLst>
            <pc:docMk/>
            <pc:sldMk cId="575452230" sldId="355"/>
            <ac:spMk id="3" creationId="{BE28E501-5A4E-D1A3-A7D8-65D153A748C4}"/>
          </ac:spMkLst>
        </pc:spChg>
        <pc:spChg chg="add mod">
          <ac:chgData name="Ewen Trafford" userId="e520b4bf-a196-48b7-bc10-b1590a457daa" providerId="ADAL" clId="{8BC1E89D-B205-4FCA-8E72-09FE78A246CE}" dt="2022-12-22T09:37:01.098" v="7368" actId="1076"/>
          <ac:spMkLst>
            <pc:docMk/>
            <pc:sldMk cId="575452230" sldId="355"/>
            <ac:spMk id="4" creationId="{6DED548E-5717-8F57-78EE-B25F280136ED}"/>
          </ac:spMkLst>
        </pc:spChg>
        <pc:spChg chg="add del mod">
          <ac:chgData name="Ewen Trafford" userId="e520b4bf-a196-48b7-bc10-b1590a457daa" providerId="ADAL" clId="{8BC1E89D-B205-4FCA-8E72-09FE78A246CE}" dt="2022-12-09T10:52:07.636" v="88" actId="478"/>
          <ac:spMkLst>
            <pc:docMk/>
            <pc:sldMk cId="575452230" sldId="355"/>
            <ac:spMk id="5" creationId="{38C9A52D-12EE-F9A0-0DB0-09439295EA2C}"/>
          </ac:spMkLst>
        </pc:spChg>
        <pc:spChg chg="add mod">
          <ac:chgData name="Ewen Trafford" userId="e520b4bf-a196-48b7-bc10-b1590a457daa" providerId="ADAL" clId="{8BC1E89D-B205-4FCA-8E72-09FE78A246CE}" dt="2022-12-22T09:37:35.100" v="7418" actId="1076"/>
          <ac:spMkLst>
            <pc:docMk/>
            <pc:sldMk cId="575452230" sldId="355"/>
            <ac:spMk id="5" creationId="{F8A83E61-8A61-D2DA-6ABB-0D873B54DA7D}"/>
          </ac:spMkLst>
        </pc:spChg>
        <pc:spChg chg="del">
          <ac:chgData name="Ewen Trafford" userId="e520b4bf-a196-48b7-bc10-b1590a457daa" providerId="ADAL" clId="{8BC1E89D-B205-4FCA-8E72-09FE78A246CE}" dt="2022-12-09T10:52:09.190" v="89" actId="478"/>
          <ac:spMkLst>
            <pc:docMk/>
            <pc:sldMk cId="575452230" sldId="355"/>
            <ac:spMk id="6" creationId="{37F21B2D-0E3B-42DC-85A8-4511EB39D461}"/>
          </ac:spMkLst>
        </pc:spChg>
        <pc:spChg chg="add mod">
          <ac:chgData name="Ewen Trafford" userId="e520b4bf-a196-48b7-bc10-b1590a457daa" providerId="ADAL" clId="{8BC1E89D-B205-4FCA-8E72-09FE78A246CE}" dt="2022-12-22T09:37:30.213" v="7416" actId="1076"/>
          <ac:spMkLst>
            <pc:docMk/>
            <pc:sldMk cId="575452230" sldId="355"/>
            <ac:spMk id="6" creationId="{5A59A193-0D1F-6C2B-B1EE-563B5C8341B7}"/>
          </ac:spMkLst>
        </pc:spChg>
        <pc:spChg chg="add mod">
          <ac:chgData name="Ewen Trafford" userId="e520b4bf-a196-48b7-bc10-b1590a457daa" providerId="ADAL" clId="{8BC1E89D-B205-4FCA-8E72-09FE78A246CE}" dt="2022-12-22T09:37:38.480" v="7419" actId="1076"/>
          <ac:spMkLst>
            <pc:docMk/>
            <pc:sldMk cId="575452230" sldId="355"/>
            <ac:spMk id="7" creationId="{082AF9A2-E554-C7F2-6D91-C0B1B0712CEE}"/>
          </ac:spMkLst>
        </pc:spChg>
        <pc:picChg chg="add mod">
          <ac:chgData name="Ewen Trafford" userId="e520b4bf-a196-48b7-bc10-b1590a457daa" providerId="ADAL" clId="{8BC1E89D-B205-4FCA-8E72-09FE78A246CE}" dt="2022-12-20T14:41:35.874" v="3132" actId="1076"/>
          <ac:picMkLst>
            <pc:docMk/>
            <pc:sldMk cId="575452230" sldId="355"/>
            <ac:picMk id="3" creationId="{9205AD4E-BD7C-8A91-6AD1-768B00565B49}"/>
          </ac:picMkLst>
        </pc:picChg>
        <pc:picChg chg="add mod">
          <ac:chgData name="Ewen Trafford" userId="e520b4bf-a196-48b7-bc10-b1590a457daa" providerId="ADAL" clId="{8BC1E89D-B205-4FCA-8E72-09FE78A246CE}" dt="2022-12-22T09:36:58.984" v="7367" actId="1076"/>
          <ac:picMkLst>
            <pc:docMk/>
            <pc:sldMk cId="575452230" sldId="355"/>
            <ac:picMk id="8" creationId="{D614B826-AA37-2930-A309-E6D096A2FDB1}"/>
          </ac:picMkLst>
        </pc:picChg>
        <pc:picChg chg="add mod">
          <ac:chgData name="Ewen Trafford" userId="e520b4bf-a196-48b7-bc10-b1590a457daa" providerId="ADAL" clId="{8BC1E89D-B205-4FCA-8E72-09FE78A246CE}" dt="2022-12-22T09:37:35.100" v="7418" actId="1076"/>
          <ac:picMkLst>
            <pc:docMk/>
            <pc:sldMk cId="575452230" sldId="355"/>
            <ac:picMk id="10" creationId="{912D0BC7-FFAD-78C0-EDD3-2A2CCAF9E2B8}"/>
          </ac:picMkLst>
        </pc:picChg>
        <pc:picChg chg="add del mod">
          <ac:chgData name="Ewen Trafford" userId="e520b4bf-a196-48b7-bc10-b1590a457daa" providerId="ADAL" clId="{8BC1E89D-B205-4FCA-8E72-09FE78A246CE}" dt="2022-12-20T14:40:27.564" v="3126" actId="21"/>
          <ac:picMkLst>
            <pc:docMk/>
            <pc:sldMk cId="575452230" sldId="355"/>
            <ac:picMk id="12" creationId="{FB666A6C-D1BA-8278-7438-602FA5D0243D}"/>
          </ac:picMkLst>
        </pc:picChg>
        <pc:picChg chg="add del mod">
          <ac:chgData name="Ewen Trafford" userId="e520b4bf-a196-48b7-bc10-b1590a457daa" providerId="ADAL" clId="{8BC1E89D-B205-4FCA-8E72-09FE78A246CE}" dt="2022-12-09T16:44:57.512" v="459" actId="478"/>
          <ac:picMkLst>
            <pc:docMk/>
            <pc:sldMk cId="575452230" sldId="355"/>
            <ac:picMk id="14" creationId="{FDA6B174-5DC1-D3DD-DB70-BB81E2021F06}"/>
          </ac:picMkLst>
        </pc:picChg>
        <pc:picChg chg="add mod">
          <ac:chgData name="Ewen Trafford" userId="e520b4bf-a196-48b7-bc10-b1590a457daa" providerId="ADAL" clId="{8BC1E89D-B205-4FCA-8E72-09FE78A246CE}" dt="2022-12-22T09:37:38.480" v="7419" actId="1076"/>
          <ac:picMkLst>
            <pc:docMk/>
            <pc:sldMk cId="575452230" sldId="355"/>
            <ac:picMk id="16" creationId="{9FAE1215-11A4-9538-0DFE-82BA25ECD78B}"/>
          </ac:picMkLst>
        </pc:picChg>
      </pc:sldChg>
      <pc:sldChg chg="del">
        <pc:chgData name="Ewen Trafford" userId="e520b4bf-a196-48b7-bc10-b1590a457daa" providerId="ADAL" clId="{8BC1E89D-B205-4FCA-8E72-09FE78A246CE}" dt="2022-12-09T10:46:01.626" v="16" actId="47"/>
        <pc:sldMkLst>
          <pc:docMk/>
          <pc:sldMk cId="2227979570" sldId="356"/>
        </pc:sldMkLst>
      </pc:sldChg>
      <pc:sldChg chg="addSp modSp add mod delCm modCm">
        <pc:chgData name="Ewen Trafford" userId="e520b4bf-a196-48b7-bc10-b1590a457daa" providerId="ADAL" clId="{8BC1E89D-B205-4FCA-8E72-09FE78A246CE}" dt="2022-12-22T10:13:48.997" v="8329"/>
        <pc:sldMkLst>
          <pc:docMk/>
          <pc:sldMk cId="3516820143" sldId="356"/>
        </pc:sldMkLst>
        <pc:spChg chg="mod">
          <ac:chgData name="Ewen Trafford" userId="e520b4bf-a196-48b7-bc10-b1590a457daa" providerId="ADAL" clId="{8BC1E89D-B205-4FCA-8E72-09FE78A246CE}" dt="2022-12-20T14:20:17.289" v="1635" actId="20577"/>
          <ac:spMkLst>
            <pc:docMk/>
            <pc:sldMk cId="3516820143" sldId="356"/>
            <ac:spMk id="2" creationId="{C0656FD1-4489-F55F-822B-620888FD55A9}"/>
          </ac:spMkLst>
        </pc:spChg>
        <pc:spChg chg="mod">
          <ac:chgData name="Ewen Trafford" userId="e520b4bf-a196-48b7-bc10-b1590a457daa" providerId="ADAL" clId="{8BC1E89D-B205-4FCA-8E72-09FE78A246CE}" dt="2022-12-20T14:31:45.528" v="3016" actId="20577"/>
          <ac:spMkLst>
            <pc:docMk/>
            <pc:sldMk cId="3516820143" sldId="356"/>
            <ac:spMk id="3" creationId="{BE28E501-5A4E-D1A3-A7D8-65D153A748C4}"/>
          </ac:spMkLst>
        </pc:spChg>
        <pc:picChg chg="add mod">
          <ac:chgData name="Ewen Trafford" userId="e520b4bf-a196-48b7-bc10-b1590a457daa" providerId="ADAL" clId="{8BC1E89D-B205-4FCA-8E72-09FE78A246CE}" dt="2022-12-20T14:39:30.787" v="3094" actId="1076"/>
          <ac:picMkLst>
            <pc:docMk/>
            <pc:sldMk cId="3516820143" sldId="356"/>
            <ac:picMk id="5" creationId="{CDB6D2A0-71F9-3447-151C-7C603A69C072}"/>
          </ac:picMkLst>
        </pc:picChg>
      </pc:sldChg>
      <pc:sldChg chg="addSp delSp modSp add mod ord delCm">
        <pc:chgData name="Ewen Trafford" userId="e520b4bf-a196-48b7-bc10-b1590a457daa" providerId="ADAL" clId="{8BC1E89D-B205-4FCA-8E72-09FE78A246CE}" dt="2022-12-22T09:46:56.518" v="7778"/>
        <pc:sldMkLst>
          <pc:docMk/>
          <pc:sldMk cId="2093275823" sldId="357"/>
        </pc:sldMkLst>
        <pc:spChg chg="mod">
          <ac:chgData name="Ewen Trafford" userId="e520b4bf-a196-48b7-bc10-b1590a457daa" providerId="ADAL" clId="{8BC1E89D-B205-4FCA-8E72-09FE78A246CE}" dt="2022-12-20T10:19:59.503" v="831" actId="20577"/>
          <ac:spMkLst>
            <pc:docMk/>
            <pc:sldMk cId="2093275823" sldId="357"/>
            <ac:spMk id="2" creationId="{C0656FD1-4489-F55F-822B-620888FD55A9}"/>
          </ac:spMkLst>
        </pc:spChg>
        <pc:spChg chg="mod">
          <ac:chgData name="Ewen Trafford" userId="e520b4bf-a196-48b7-bc10-b1590a457daa" providerId="ADAL" clId="{8BC1E89D-B205-4FCA-8E72-09FE78A246CE}" dt="2022-12-22T09:46:52.391" v="7777" actId="20577"/>
          <ac:spMkLst>
            <pc:docMk/>
            <pc:sldMk cId="2093275823" sldId="357"/>
            <ac:spMk id="3" creationId="{BE28E501-5A4E-D1A3-A7D8-65D153A748C4}"/>
          </ac:spMkLst>
        </pc:spChg>
        <pc:spChg chg="add mod">
          <ac:chgData name="Ewen Trafford" userId="e520b4bf-a196-48b7-bc10-b1590a457daa" providerId="ADAL" clId="{8BC1E89D-B205-4FCA-8E72-09FE78A246CE}" dt="2022-12-20T14:57:13.127" v="4330" actId="1076"/>
          <ac:spMkLst>
            <pc:docMk/>
            <pc:sldMk cId="2093275823" sldId="357"/>
            <ac:spMk id="9" creationId="{9E235514-9482-1138-DC34-4246F24919B0}"/>
          </ac:spMkLst>
        </pc:spChg>
        <pc:picChg chg="add del mod">
          <ac:chgData name="Ewen Trafford" userId="e520b4bf-a196-48b7-bc10-b1590a457daa" providerId="ADAL" clId="{8BC1E89D-B205-4FCA-8E72-09FE78A246CE}" dt="2022-12-20T14:55:19.106" v="4250" actId="478"/>
          <ac:picMkLst>
            <pc:docMk/>
            <pc:sldMk cId="2093275823" sldId="357"/>
            <ac:picMk id="5" creationId="{B7979226-6C21-BC01-4A4B-A6378A285911}"/>
          </ac:picMkLst>
        </pc:picChg>
        <pc:picChg chg="add mod">
          <ac:chgData name="Ewen Trafford" userId="e520b4bf-a196-48b7-bc10-b1590a457daa" providerId="ADAL" clId="{8BC1E89D-B205-4FCA-8E72-09FE78A246CE}" dt="2022-12-20T14:57:13.127" v="4330" actId="1076"/>
          <ac:picMkLst>
            <pc:docMk/>
            <pc:sldMk cId="2093275823" sldId="357"/>
            <ac:picMk id="8" creationId="{EAB0D678-5176-EE1D-5255-06A89A0E5726}"/>
          </ac:picMkLst>
        </pc:picChg>
      </pc:sldChg>
      <pc:sldChg chg="addSp delSp modSp add mod delCm modCm">
        <pc:chgData name="Ewen Trafford" userId="e520b4bf-a196-48b7-bc10-b1590a457daa" providerId="ADAL" clId="{8BC1E89D-B205-4FCA-8E72-09FE78A246CE}" dt="2022-12-22T09:46:00.313" v="7725" actId="1076"/>
        <pc:sldMkLst>
          <pc:docMk/>
          <pc:sldMk cId="2644956436" sldId="358"/>
        </pc:sldMkLst>
        <pc:spChg chg="mod">
          <ac:chgData name="Ewen Trafford" userId="e520b4bf-a196-48b7-bc10-b1590a457daa" providerId="ADAL" clId="{8BC1E89D-B205-4FCA-8E72-09FE78A246CE}" dt="2022-12-20T10:20:11.699" v="845" actId="20577"/>
          <ac:spMkLst>
            <pc:docMk/>
            <pc:sldMk cId="2644956436" sldId="358"/>
            <ac:spMk id="2" creationId="{C0656FD1-4489-F55F-822B-620888FD55A9}"/>
          </ac:spMkLst>
        </pc:spChg>
        <pc:spChg chg="mod">
          <ac:chgData name="Ewen Trafford" userId="e520b4bf-a196-48b7-bc10-b1590a457daa" providerId="ADAL" clId="{8BC1E89D-B205-4FCA-8E72-09FE78A246CE}" dt="2022-12-22T09:41:44.163" v="7705" actId="20577"/>
          <ac:spMkLst>
            <pc:docMk/>
            <pc:sldMk cId="2644956436" sldId="358"/>
            <ac:spMk id="3" creationId="{BE28E501-5A4E-D1A3-A7D8-65D153A748C4}"/>
          </ac:spMkLst>
        </pc:spChg>
        <pc:picChg chg="add del mod">
          <ac:chgData name="Ewen Trafford" userId="e520b4bf-a196-48b7-bc10-b1590a457daa" providerId="ADAL" clId="{8BC1E89D-B205-4FCA-8E72-09FE78A246CE}" dt="2022-12-22T09:41:48.483" v="7707" actId="478"/>
          <ac:picMkLst>
            <pc:docMk/>
            <pc:sldMk cId="2644956436" sldId="358"/>
            <ac:picMk id="5" creationId="{87ABC255-6B8E-5578-3BC4-8808E5FAF390}"/>
          </ac:picMkLst>
        </pc:picChg>
        <pc:picChg chg="add mod">
          <ac:chgData name="Ewen Trafford" userId="e520b4bf-a196-48b7-bc10-b1590a457daa" providerId="ADAL" clId="{8BC1E89D-B205-4FCA-8E72-09FE78A246CE}" dt="2022-12-22T09:45:58.783" v="7724" actId="1076"/>
          <ac:picMkLst>
            <pc:docMk/>
            <pc:sldMk cId="2644956436" sldId="358"/>
            <ac:picMk id="7" creationId="{0E7DA468-F6F5-E396-1D4D-B66C2430AC5D}"/>
          </ac:picMkLst>
        </pc:picChg>
        <pc:picChg chg="add mod">
          <ac:chgData name="Ewen Trafford" userId="e520b4bf-a196-48b7-bc10-b1590a457daa" providerId="ADAL" clId="{8BC1E89D-B205-4FCA-8E72-09FE78A246CE}" dt="2022-12-22T09:46:00.313" v="7725" actId="1076"/>
          <ac:picMkLst>
            <pc:docMk/>
            <pc:sldMk cId="2644956436" sldId="358"/>
            <ac:picMk id="9" creationId="{901F98C5-9E39-232B-A83A-A25DE854A72D}"/>
          </ac:picMkLst>
        </pc:picChg>
      </pc:sldChg>
      <pc:sldChg chg="addSp delSp modSp add mod delCm">
        <pc:chgData name="Ewen Trafford" userId="e520b4bf-a196-48b7-bc10-b1590a457daa" providerId="ADAL" clId="{8BC1E89D-B205-4FCA-8E72-09FE78A246CE}" dt="2022-12-22T09:48:10.150" v="7915"/>
        <pc:sldMkLst>
          <pc:docMk/>
          <pc:sldMk cId="311918694" sldId="359"/>
        </pc:sldMkLst>
        <pc:spChg chg="mod">
          <ac:chgData name="Ewen Trafford" userId="e520b4bf-a196-48b7-bc10-b1590a457daa" providerId="ADAL" clId="{8BC1E89D-B205-4FCA-8E72-09FE78A246CE}" dt="2022-12-20T14:40:00.284" v="3117" actId="20577"/>
          <ac:spMkLst>
            <pc:docMk/>
            <pc:sldMk cId="311918694" sldId="359"/>
            <ac:spMk id="2" creationId="{C0656FD1-4489-F55F-822B-620888FD55A9}"/>
          </ac:spMkLst>
        </pc:spChg>
        <pc:spChg chg="add mod">
          <ac:chgData name="Ewen Trafford" userId="e520b4bf-a196-48b7-bc10-b1590a457daa" providerId="ADAL" clId="{8BC1E89D-B205-4FCA-8E72-09FE78A246CE}" dt="2022-12-22T09:47:32.429" v="7828" actId="1076"/>
          <ac:spMkLst>
            <pc:docMk/>
            <pc:sldMk cId="311918694" sldId="359"/>
            <ac:spMk id="3" creationId="{971C656F-D4FA-D3DC-7596-FDB3668E2819}"/>
          </ac:spMkLst>
        </pc:spChg>
        <pc:spChg chg="add mod">
          <ac:chgData name="Ewen Trafford" userId="e520b4bf-a196-48b7-bc10-b1590a457daa" providerId="ADAL" clId="{8BC1E89D-B205-4FCA-8E72-09FE78A246CE}" dt="2022-12-22T09:47:43.830" v="7881" actId="1076"/>
          <ac:spMkLst>
            <pc:docMk/>
            <pc:sldMk cId="311918694" sldId="359"/>
            <ac:spMk id="5" creationId="{BCFFBC8B-3805-E2C5-00A8-550E63CD2FC0}"/>
          </ac:spMkLst>
        </pc:spChg>
        <pc:spChg chg="add mod">
          <ac:chgData name="Ewen Trafford" userId="e520b4bf-a196-48b7-bc10-b1590a457daa" providerId="ADAL" clId="{8BC1E89D-B205-4FCA-8E72-09FE78A246CE}" dt="2022-12-22T09:47:49.269" v="7895" actId="20577"/>
          <ac:spMkLst>
            <pc:docMk/>
            <pc:sldMk cId="311918694" sldId="359"/>
            <ac:spMk id="6" creationId="{1B704F52-6F44-3AF5-E985-B738D17E964A}"/>
          </ac:spMkLst>
        </pc:spChg>
        <pc:spChg chg="add mod">
          <ac:chgData name="Ewen Trafford" userId="e520b4bf-a196-48b7-bc10-b1590a457daa" providerId="ADAL" clId="{8BC1E89D-B205-4FCA-8E72-09FE78A246CE}" dt="2022-12-22T09:48:04.912" v="7914" actId="20577"/>
          <ac:spMkLst>
            <pc:docMk/>
            <pc:sldMk cId="311918694" sldId="359"/>
            <ac:spMk id="8" creationId="{ECDE6EBB-0963-77CA-8971-774077DAD149}"/>
          </ac:spMkLst>
        </pc:spChg>
        <pc:picChg chg="add mod">
          <ac:chgData name="Ewen Trafford" userId="e520b4bf-a196-48b7-bc10-b1590a457daa" providerId="ADAL" clId="{8BC1E89D-B205-4FCA-8E72-09FE78A246CE}" dt="2022-12-22T09:47:29.361" v="7827" actId="1076"/>
          <ac:picMkLst>
            <pc:docMk/>
            <pc:sldMk cId="311918694" sldId="359"/>
            <ac:picMk id="4" creationId="{0A8DEEDD-757A-C4C4-4DEF-60A71E132D31}"/>
          </ac:picMkLst>
        </pc:picChg>
        <pc:picChg chg="add del mod">
          <ac:chgData name="Ewen Trafford" userId="e520b4bf-a196-48b7-bc10-b1590a457daa" providerId="ADAL" clId="{8BC1E89D-B205-4FCA-8E72-09FE78A246CE}" dt="2022-12-20T14:41:30.716" v="3129" actId="21"/>
          <ac:picMkLst>
            <pc:docMk/>
            <pc:sldMk cId="311918694" sldId="359"/>
            <ac:picMk id="5" creationId="{06A7F5BF-CE44-C58B-08F5-B0D2CF25FFA4}"/>
          </ac:picMkLst>
        </pc:picChg>
        <pc:picChg chg="add mod ord">
          <ac:chgData name="Ewen Trafford" userId="e520b4bf-a196-48b7-bc10-b1590a457daa" providerId="ADAL" clId="{8BC1E89D-B205-4FCA-8E72-09FE78A246CE}" dt="2022-12-22T09:47:53.638" v="7898" actId="1076"/>
          <ac:picMkLst>
            <pc:docMk/>
            <pc:sldMk cId="311918694" sldId="359"/>
            <ac:picMk id="7" creationId="{A0B3AA4F-3E5C-0D2A-523F-874DB9CB0E2C}"/>
          </ac:picMkLst>
        </pc:picChg>
        <pc:picChg chg="del">
          <ac:chgData name="Ewen Trafford" userId="e520b4bf-a196-48b7-bc10-b1590a457daa" providerId="ADAL" clId="{8BC1E89D-B205-4FCA-8E72-09FE78A246CE}" dt="2022-12-20T14:40:02.220" v="3118" actId="478"/>
          <ac:picMkLst>
            <pc:docMk/>
            <pc:sldMk cId="311918694" sldId="359"/>
            <ac:picMk id="8" creationId="{D614B826-AA37-2930-A309-E6D096A2FDB1}"/>
          </ac:picMkLst>
        </pc:picChg>
        <pc:picChg chg="del">
          <ac:chgData name="Ewen Trafford" userId="e520b4bf-a196-48b7-bc10-b1590a457daa" providerId="ADAL" clId="{8BC1E89D-B205-4FCA-8E72-09FE78A246CE}" dt="2022-12-20T14:40:03.053" v="3120" actId="478"/>
          <ac:picMkLst>
            <pc:docMk/>
            <pc:sldMk cId="311918694" sldId="359"/>
            <ac:picMk id="10" creationId="{912D0BC7-FFAD-78C0-EDD3-2A2CCAF9E2B8}"/>
          </ac:picMkLst>
        </pc:picChg>
        <pc:picChg chg="add mod">
          <ac:chgData name="Ewen Trafford" userId="e520b4bf-a196-48b7-bc10-b1590a457daa" providerId="ADAL" clId="{8BC1E89D-B205-4FCA-8E72-09FE78A246CE}" dt="2022-12-20T14:44:38.177" v="3156" actId="1076"/>
          <ac:picMkLst>
            <pc:docMk/>
            <pc:sldMk cId="311918694" sldId="359"/>
            <ac:picMk id="11" creationId="{BFDBF21E-2E31-F680-DAE9-2C1325D144E6}"/>
          </ac:picMkLst>
        </pc:picChg>
        <pc:picChg chg="del">
          <ac:chgData name="Ewen Trafford" userId="e520b4bf-a196-48b7-bc10-b1590a457daa" providerId="ADAL" clId="{8BC1E89D-B205-4FCA-8E72-09FE78A246CE}" dt="2022-12-20T14:40:02.646" v="3119" actId="478"/>
          <ac:picMkLst>
            <pc:docMk/>
            <pc:sldMk cId="311918694" sldId="359"/>
            <ac:picMk id="12" creationId="{FB666A6C-D1BA-8278-7438-602FA5D0243D}"/>
          </ac:picMkLst>
        </pc:picChg>
        <pc:picChg chg="add mod">
          <ac:chgData name="Ewen Trafford" userId="e520b4bf-a196-48b7-bc10-b1590a457daa" providerId="ADAL" clId="{8BC1E89D-B205-4FCA-8E72-09FE78A246CE}" dt="2022-12-20T14:44:38.177" v="3156" actId="1076"/>
          <ac:picMkLst>
            <pc:docMk/>
            <pc:sldMk cId="311918694" sldId="359"/>
            <ac:picMk id="14" creationId="{FFB8B805-40CF-9055-AA30-E9D3EC7CA7A7}"/>
          </ac:picMkLst>
        </pc:picChg>
        <pc:picChg chg="del">
          <ac:chgData name="Ewen Trafford" userId="e520b4bf-a196-48b7-bc10-b1590a457daa" providerId="ADAL" clId="{8BC1E89D-B205-4FCA-8E72-09FE78A246CE}" dt="2022-12-20T14:40:03.727" v="3121" actId="478"/>
          <ac:picMkLst>
            <pc:docMk/>
            <pc:sldMk cId="311918694" sldId="359"/>
            <ac:picMk id="16" creationId="{9FAE1215-11A4-9538-0DFE-82BA25ECD78B}"/>
          </ac:picMkLst>
        </pc:picChg>
      </pc:sldChg>
      <pc:sldChg chg="addSp delSp modSp add mod delCm modCm">
        <pc:chgData name="Ewen Trafford" userId="e520b4bf-a196-48b7-bc10-b1590a457daa" providerId="ADAL" clId="{8BC1E89D-B205-4FCA-8E72-09FE78A246CE}" dt="2022-12-22T09:49:00.421" v="7977"/>
        <pc:sldMkLst>
          <pc:docMk/>
          <pc:sldMk cId="2377241707" sldId="360"/>
        </pc:sldMkLst>
        <pc:spChg chg="mod">
          <ac:chgData name="Ewen Trafford" userId="e520b4bf-a196-48b7-bc10-b1590a457daa" providerId="ADAL" clId="{8BC1E89D-B205-4FCA-8E72-09FE78A246CE}" dt="2022-12-20T14:45:32.167" v="3172" actId="20577"/>
          <ac:spMkLst>
            <pc:docMk/>
            <pc:sldMk cId="2377241707" sldId="360"/>
            <ac:spMk id="2" creationId="{C0656FD1-4489-F55F-822B-620888FD55A9}"/>
          </ac:spMkLst>
        </pc:spChg>
        <pc:spChg chg="mod">
          <ac:chgData name="Ewen Trafford" userId="e520b4bf-a196-48b7-bc10-b1590a457daa" providerId="ADAL" clId="{8BC1E89D-B205-4FCA-8E72-09FE78A246CE}" dt="2022-12-22T09:48:57.491" v="7976" actId="20577"/>
          <ac:spMkLst>
            <pc:docMk/>
            <pc:sldMk cId="2377241707" sldId="360"/>
            <ac:spMk id="3" creationId="{BE28E501-5A4E-D1A3-A7D8-65D153A748C4}"/>
          </ac:spMkLst>
        </pc:spChg>
        <pc:picChg chg="add mod">
          <ac:chgData name="Ewen Trafford" userId="e520b4bf-a196-48b7-bc10-b1590a457daa" providerId="ADAL" clId="{8BC1E89D-B205-4FCA-8E72-09FE78A246CE}" dt="2022-12-20T14:55:12.386" v="4249" actId="1076"/>
          <ac:picMkLst>
            <pc:docMk/>
            <pc:sldMk cId="2377241707" sldId="360"/>
            <ac:picMk id="4" creationId="{29AEB25A-0927-8C6A-D7A0-C08C767848D1}"/>
          </ac:picMkLst>
        </pc:picChg>
        <pc:picChg chg="del">
          <ac:chgData name="Ewen Trafford" userId="e520b4bf-a196-48b7-bc10-b1590a457daa" providerId="ADAL" clId="{8BC1E89D-B205-4FCA-8E72-09FE78A246CE}" dt="2022-12-20T14:45:34.480" v="3173" actId="478"/>
          <ac:picMkLst>
            <pc:docMk/>
            <pc:sldMk cId="2377241707" sldId="360"/>
            <ac:picMk id="5" creationId="{B7979226-6C21-BC01-4A4B-A6378A285911}"/>
          </ac:picMkLst>
        </pc:picChg>
      </pc:sldChg>
      <pc:sldChg chg="addSp modSp add mod delCm modCm">
        <pc:chgData name="Ewen Trafford" userId="e520b4bf-a196-48b7-bc10-b1590a457daa" providerId="ADAL" clId="{8BC1E89D-B205-4FCA-8E72-09FE78A246CE}" dt="2022-12-22T09:39:32.463" v="7581"/>
        <pc:sldMkLst>
          <pc:docMk/>
          <pc:sldMk cId="804726735" sldId="361"/>
        </pc:sldMkLst>
        <pc:spChg chg="mod">
          <ac:chgData name="Ewen Trafford" userId="e520b4bf-a196-48b7-bc10-b1590a457daa" providerId="ADAL" clId="{8BC1E89D-B205-4FCA-8E72-09FE78A246CE}" dt="2022-12-20T14:45:41.774" v="3177" actId="20577"/>
          <ac:spMkLst>
            <pc:docMk/>
            <pc:sldMk cId="804726735" sldId="361"/>
            <ac:spMk id="2" creationId="{C0656FD1-4489-F55F-822B-620888FD55A9}"/>
          </ac:spMkLst>
        </pc:spChg>
        <pc:spChg chg="mod">
          <ac:chgData name="Ewen Trafford" userId="e520b4bf-a196-48b7-bc10-b1590a457daa" providerId="ADAL" clId="{8BC1E89D-B205-4FCA-8E72-09FE78A246CE}" dt="2022-12-22T09:39:29.746" v="7580" actId="20577"/>
          <ac:spMkLst>
            <pc:docMk/>
            <pc:sldMk cId="804726735" sldId="361"/>
            <ac:spMk id="3" creationId="{BE28E501-5A4E-D1A3-A7D8-65D153A748C4}"/>
          </ac:spMkLst>
        </pc:spChg>
        <pc:picChg chg="add mod ord">
          <ac:chgData name="Ewen Trafford" userId="e520b4bf-a196-48b7-bc10-b1590a457daa" providerId="ADAL" clId="{8BC1E89D-B205-4FCA-8E72-09FE78A246CE}" dt="2022-12-20T14:54:59.122" v="4246" actId="1076"/>
          <ac:picMkLst>
            <pc:docMk/>
            <pc:sldMk cId="804726735" sldId="361"/>
            <ac:picMk id="4" creationId="{96BCCC31-25E4-1E9C-CC11-C772145C5E20}"/>
          </ac:picMkLst>
        </pc:picChg>
      </pc:sldChg>
      <pc:sldChg chg="addSp delSp modSp add mod delAnim delCm">
        <pc:chgData name="Ewen Trafford" userId="e520b4bf-a196-48b7-bc10-b1590a457daa" providerId="ADAL" clId="{8BC1E89D-B205-4FCA-8E72-09FE78A246CE}" dt="2022-12-22T09:54:03.594" v="8032"/>
        <pc:sldMkLst>
          <pc:docMk/>
          <pc:sldMk cId="1843501141" sldId="362"/>
        </pc:sldMkLst>
        <pc:spChg chg="mod">
          <ac:chgData name="Ewen Trafford" userId="e520b4bf-a196-48b7-bc10-b1590a457daa" providerId="ADAL" clId="{8BC1E89D-B205-4FCA-8E72-09FE78A246CE}" dt="2022-12-20T15:02:14.416" v="4705" actId="20577"/>
          <ac:spMkLst>
            <pc:docMk/>
            <pc:sldMk cId="1843501141" sldId="362"/>
            <ac:spMk id="2" creationId="{9B56DC22-08AB-0D91-7AB6-8D24F66397BF}"/>
          </ac:spMkLst>
        </pc:spChg>
        <pc:spChg chg="mod">
          <ac:chgData name="Ewen Trafford" userId="e520b4bf-a196-48b7-bc10-b1590a457daa" providerId="ADAL" clId="{8BC1E89D-B205-4FCA-8E72-09FE78A246CE}" dt="2022-12-20T15:22:13.457" v="6241" actId="20577"/>
          <ac:spMkLst>
            <pc:docMk/>
            <pc:sldMk cId="1843501141" sldId="362"/>
            <ac:spMk id="3" creationId="{B08F7FAB-511F-7730-95EA-CDCD60827684}"/>
          </ac:spMkLst>
        </pc:spChg>
        <pc:picChg chg="del">
          <ac:chgData name="Ewen Trafford" userId="e520b4bf-a196-48b7-bc10-b1590a457daa" providerId="ADAL" clId="{8BC1E89D-B205-4FCA-8E72-09FE78A246CE}" dt="2022-12-20T15:01:24.651" v="4693" actId="478"/>
          <ac:picMkLst>
            <pc:docMk/>
            <pc:sldMk cId="1843501141" sldId="362"/>
            <ac:picMk id="4" creationId="{33E89CB3-99B0-D354-F193-D2399B75559D}"/>
          </ac:picMkLst>
        </pc:picChg>
        <pc:picChg chg="add mod">
          <ac:chgData name="Ewen Trafford" userId="e520b4bf-a196-48b7-bc10-b1590a457daa" providerId="ADAL" clId="{8BC1E89D-B205-4FCA-8E72-09FE78A246CE}" dt="2022-12-20T15:22:25.125" v="6243" actId="1076"/>
          <ac:picMkLst>
            <pc:docMk/>
            <pc:sldMk cId="1843501141" sldId="362"/>
            <ac:picMk id="5" creationId="{0F73BB63-BC0D-C68F-2FE4-D7893120904D}"/>
          </ac:picMkLst>
        </pc:picChg>
      </pc:sldChg>
      <pc:sldChg chg="addSp delSp modSp add mod delCm">
        <pc:chgData name="Ewen Trafford" userId="e520b4bf-a196-48b7-bc10-b1590a457daa" providerId="ADAL" clId="{8BC1E89D-B205-4FCA-8E72-09FE78A246CE}" dt="2022-12-22T09:49:37.927" v="7988"/>
        <pc:sldMkLst>
          <pc:docMk/>
          <pc:sldMk cId="1114898030" sldId="363"/>
        </pc:sldMkLst>
        <pc:spChg chg="mod">
          <ac:chgData name="Ewen Trafford" userId="e520b4bf-a196-48b7-bc10-b1590a457daa" providerId="ADAL" clId="{8BC1E89D-B205-4FCA-8E72-09FE78A246CE}" dt="2022-12-20T15:41:38.381" v="6766" actId="20577"/>
          <ac:spMkLst>
            <pc:docMk/>
            <pc:sldMk cId="1114898030" sldId="363"/>
            <ac:spMk id="2" creationId="{9B56DC22-08AB-0D91-7AB6-8D24F66397BF}"/>
          </ac:spMkLst>
        </pc:spChg>
        <pc:spChg chg="del">
          <ac:chgData name="Ewen Trafford" userId="e520b4bf-a196-48b7-bc10-b1590a457daa" providerId="ADAL" clId="{8BC1E89D-B205-4FCA-8E72-09FE78A246CE}" dt="2022-12-20T15:29:31.870" v="6644" actId="478"/>
          <ac:spMkLst>
            <pc:docMk/>
            <pc:sldMk cId="1114898030" sldId="363"/>
            <ac:spMk id="3" creationId="{B08F7FAB-511F-7730-95EA-CDCD60827684}"/>
          </ac:spMkLst>
        </pc:spChg>
        <pc:spChg chg="add del mod">
          <ac:chgData name="Ewen Trafford" userId="e520b4bf-a196-48b7-bc10-b1590a457daa" providerId="ADAL" clId="{8BC1E89D-B205-4FCA-8E72-09FE78A246CE}" dt="2022-12-20T15:29:33.177" v="6645" actId="478"/>
          <ac:spMkLst>
            <pc:docMk/>
            <pc:sldMk cId="1114898030" sldId="363"/>
            <ac:spMk id="6" creationId="{00EFA7C4-CD50-D63A-7EC2-39AA0CA97B82}"/>
          </ac:spMkLst>
        </pc:spChg>
        <pc:spChg chg="add mod">
          <ac:chgData name="Ewen Trafford" userId="e520b4bf-a196-48b7-bc10-b1590a457daa" providerId="ADAL" clId="{8BC1E89D-B205-4FCA-8E72-09FE78A246CE}" dt="2022-12-20T15:43:01.545" v="6978" actId="12789"/>
          <ac:spMkLst>
            <pc:docMk/>
            <pc:sldMk cId="1114898030" sldId="363"/>
            <ac:spMk id="15" creationId="{4038C834-0F0E-A664-BE21-5AF37C4A84C1}"/>
          </ac:spMkLst>
        </pc:spChg>
        <pc:spChg chg="add mod">
          <ac:chgData name="Ewen Trafford" userId="e520b4bf-a196-48b7-bc10-b1590a457daa" providerId="ADAL" clId="{8BC1E89D-B205-4FCA-8E72-09FE78A246CE}" dt="2022-12-20T15:43:01.545" v="6978" actId="12789"/>
          <ac:spMkLst>
            <pc:docMk/>
            <pc:sldMk cId="1114898030" sldId="363"/>
            <ac:spMk id="16" creationId="{33D9C6F7-BC1E-ADCD-82FE-FDEA8A799EFA}"/>
          </ac:spMkLst>
        </pc:spChg>
        <pc:spChg chg="add mod">
          <ac:chgData name="Ewen Trafford" userId="e520b4bf-a196-48b7-bc10-b1590a457daa" providerId="ADAL" clId="{8BC1E89D-B205-4FCA-8E72-09FE78A246CE}" dt="2022-12-20T15:43:01.545" v="6978" actId="12789"/>
          <ac:spMkLst>
            <pc:docMk/>
            <pc:sldMk cId="1114898030" sldId="363"/>
            <ac:spMk id="17" creationId="{703D906B-B082-202C-4499-9A4A546295FC}"/>
          </ac:spMkLst>
        </pc:spChg>
        <pc:spChg chg="add mod">
          <ac:chgData name="Ewen Trafford" userId="e520b4bf-a196-48b7-bc10-b1590a457daa" providerId="ADAL" clId="{8BC1E89D-B205-4FCA-8E72-09FE78A246CE}" dt="2022-12-20T15:43:01.545" v="6978" actId="12789"/>
          <ac:spMkLst>
            <pc:docMk/>
            <pc:sldMk cId="1114898030" sldId="363"/>
            <ac:spMk id="18" creationId="{3832AD89-7D81-9E6E-036E-CBAB9D073748}"/>
          </ac:spMkLst>
        </pc:spChg>
        <pc:picChg chg="del">
          <ac:chgData name="Ewen Trafford" userId="e520b4bf-a196-48b7-bc10-b1590a457daa" providerId="ADAL" clId="{8BC1E89D-B205-4FCA-8E72-09FE78A246CE}" dt="2022-12-20T15:29:23.642" v="6621" actId="478"/>
          <ac:picMkLst>
            <pc:docMk/>
            <pc:sldMk cId="1114898030" sldId="363"/>
            <ac:picMk id="5" creationId="{0F73BB63-BC0D-C68F-2FE4-D7893120904D}"/>
          </ac:picMkLst>
        </pc:picChg>
        <pc:picChg chg="add mod">
          <ac:chgData name="Ewen Trafford" userId="e520b4bf-a196-48b7-bc10-b1590a457daa" providerId="ADAL" clId="{8BC1E89D-B205-4FCA-8E72-09FE78A246CE}" dt="2022-12-20T15:37:34.567" v="6682" actId="1076"/>
          <ac:picMkLst>
            <pc:docMk/>
            <pc:sldMk cId="1114898030" sldId="363"/>
            <ac:picMk id="8" creationId="{B06C7D99-9346-4D14-69D5-17B55E583483}"/>
          </ac:picMkLst>
        </pc:picChg>
        <pc:picChg chg="add mod">
          <ac:chgData name="Ewen Trafford" userId="e520b4bf-a196-48b7-bc10-b1590a457daa" providerId="ADAL" clId="{8BC1E89D-B205-4FCA-8E72-09FE78A246CE}" dt="2022-12-20T15:37:34.567" v="6682" actId="1076"/>
          <ac:picMkLst>
            <pc:docMk/>
            <pc:sldMk cId="1114898030" sldId="363"/>
            <ac:picMk id="10" creationId="{2FD0C988-BF18-B009-141C-2050EDAC6385}"/>
          </ac:picMkLst>
        </pc:picChg>
        <pc:picChg chg="add mod">
          <ac:chgData name="Ewen Trafford" userId="e520b4bf-a196-48b7-bc10-b1590a457daa" providerId="ADAL" clId="{8BC1E89D-B205-4FCA-8E72-09FE78A246CE}" dt="2022-12-20T15:37:34.567" v="6682" actId="1076"/>
          <ac:picMkLst>
            <pc:docMk/>
            <pc:sldMk cId="1114898030" sldId="363"/>
            <ac:picMk id="12" creationId="{207BD1F9-BAFB-6DF4-E9BC-D1A41B7E3FE4}"/>
          </ac:picMkLst>
        </pc:picChg>
        <pc:picChg chg="add mod">
          <ac:chgData name="Ewen Trafford" userId="e520b4bf-a196-48b7-bc10-b1590a457daa" providerId="ADAL" clId="{8BC1E89D-B205-4FCA-8E72-09FE78A246CE}" dt="2022-12-20T15:37:34.567" v="6682" actId="1076"/>
          <ac:picMkLst>
            <pc:docMk/>
            <pc:sldMk cId="1114898030" sldId="363"/>
            <ac:picMk id="14" creationId="{396BAB8F-73DF-87FD-2B37-BE9425804D85}"/>
          </ac:picMkLst>
        </pc:picChg>
      </pc:sldChg>
      <pc:sldChg chg="addSp modSp add mod delCm">
        <pc:chgData name="Ewen Trafford" userId="e520b4bf-a196-48b7-bc10-b1590a457daa" providerId="ADAL" clId="{8BC1E89D-B205-4FCA-8E72-09FE78A246CE}" dt="2022-12-22T09:49:34.861" v="7987"/>
        <pc:sldMkLst>
          <pc:docMk/>
          <pc:sldMk cId="2727605170" sldId="364"/>
        </pc:sldMkLst>
        <pc:spChg chg="mod">
          <ac:chgData name="Ewen Trafford" userId="e520b4bf-a196-48b7-bc10-b1590a457daa" providerId="ADAL" clId="{8BC1E89D-B205-4FCA-8E72-09FE78A246CE}" dt="2022-12-20T15:48:06.379" v="7043" actId="20577"/>
          <ac:spMkLst>
            <pc:docMk/>
            <pc:sldMk cId="2727605170" sldId="364"/>
            <ac:spMk id="2" creationId="{9B56DC22-08AB-0D91-7AB6-8D24F66397BF}"/>
          </ac:spMkLst>
        </pc:spChg>
        <pc:spChg chg="add mod">
          <ac:chgData name="Ewen Trafford" userId="e520b4bf-a196-48b7-bc10-b1590a457daa" providerId="ADAL" clId="{8BC1E89D-B205-4FCA-8E72-09FE78A246CE}" dt="2022-12-20T15:50:55.469" v="7346" actId="1038"/>
          <ac:spMkLst>
            <pc:docMk/>
            <pc:sldMk cId="2727605170" sldId="364"/>
            <ac:spMk id="10" creationId="{FB313506-983B-B319-B24C-24701C1FC030}"/>
          </ac:spMkLst>
        </pc:spChg>
        <pc:spChg chg="add mod">
          <ac:chgData name="Ewen Trafford" userId="e520b4bf-a196-48b7-bc10-b1590a457daa" providerId="ADAL" clId="{8BC1E89D-B205-4FCA-8E72-09FE78A246CE}" dt="2022-12-20T15:50:55.469" v="7346" actId="1038"/>
          <ac:spMkLst>
            <pc:docMk/>
            <pc:sldMk cId="2727605170" sldId="364"/>
            <ac:spMk id="11" creationId="{664644A6-A9D7-45A9-3363-6C3856EEB38B}"/>
          </ac:spMkLst>
        </pc:spChg>
        <pc:spChg chg="add mod">
          <ac:chgData name="Ewen Trafford" userId="e520b4bf-a196-48b7-bc10-b1590a457daa" providerId="ADAL" clId="{8BC1E89D-B205-4FCA-8E72-09FE78A246CE}" dt="2022-12-20T15:50:55.469" v="7346" actId="1038"/>
          <ac:spMkLst>
            <pc:docMk/>
            <pc:sldMk cId="2727605170" sldId="364"/>
            <ac:spMk id="12" creationId="{05C2986E-5820-1C37-17C8-334CEB18C9BE}"/>
          </ac:spMkLst>
        </pc:spChg>
        <pc:spChg chg="add mod">
          <ac:chgData name="Ewen Trafford" userId="e520b4bf-a196-48b7-bc10-b1590a457daa" providerId="ADAL" clId="{8BC1E89D-B205-4FCA-8E72-09FE78A246CE}" dt="2022-12-22T09:49:32.323" v="7986" actId="20577"/>
          <ac:spMkLst>
            <pc:docMk/>
            <pc:sldMk cId="2727605170" sldId="364"/>
            <ac:spMk id="13" creationId="{B34091E2-8DDD-A9C3-B769-B558A16193F0}"/>
          </ac:spMkLst>
        </pc:spChg>
        <pc:picChg chg="add mod">
          <ac:chgData name="Ewen Trafford" userId="e520b4bf-a196-48b7-bc10-b1590a457daa" providerId="ADAL" clId="{8BC1E89D-B205-4FCA-8E72-09FE78A246CE}" dt="2022-12-20T15:49:25.183" v="7061" actId="1076"/>
          <ac:picMkLst>
            <pc:docMk/>
            <pc:sldMk cId="2727605170" sldId="364"/>
            <ac:picMk id="3" creationId="{A5E6D1B2-7B65-C3A2-4B00-CBF31B922D06}"/>
          </ac:picMkLst>
        </pc:picChg>
        <pc:picChg chg="add mod modCrop">
          <ac:chgData name="Ewen Trafford" userId="e520b4bf-a196-48b7-bc10-b1590a457daa" providerId="ADAL" clId="{8BC1E89D-B205-4FCA-8E72-09FE78A246CE}" dt="2022-12-20T15:49:25.183" v="7061" actId="1076"/>
          <ac:picMkLst>
            <pc:docMk/>
            <pc:sldMk cId="2727605170" sldId="364"/>
            <ac:picMk id="5" creationId="{464E80ED-CAA9-76E5-95C7-5E78D8662754}"/>
          </ac:picMkLst>
        </pc:picChg>
        <pc:picChg chg="add mod">
          <ac:chgData name="Ewen Trafford" userId="e520b4bf-a196-48b7-bc10-b1590a457daa" providerId="ADAL" clId="{8BC1E89D-B205-4FCA-8E72-09FE78A246CE}" dt="2022-12-20T15:49:25.183" v="7061" actId="1076"/>
          <ac:picMkLst>
            <pc:docMk/>
            <pc:sldMk cId="2727605170" sldId="364"/>
            <ac:picMk id="7" creationId="{3C030315-623F-5D32-BFE6-DC71482F9E62}"/>
          </ac:picMkLst>
        </pc:picChg>
        <pc:picChg chg="add mod modCrop">
          <ac:chgData name="Ewen Trafford" userId="e520b4bf-a196-48b7-bc10-b1590a457daa" providerId="ADAL" clId="{8BC1E89D-B205-4FCA-8E72-09FE78A246CE}" dt="2022-12-20T15:49:25.183" v="7061" actId="1076"/>
          <ac:picMkLst>
            <pc:docMk/>
            <pc:sldMk cId="2727605170" sldId="364"/>
            <ac:picMk id="9" creationId="{4B7FFB2F-004A-C78D-DDEC-CA7CB91F90C2}"/>
          </ac:picMkLst>
        </pc:picChg>
      </pc:sldChg>
      <pc:sldChg chg="add ord">
        <pc:chgData name="Ewen Trafford" userId="e520b4bf-a196-48b7-bc10-b1590a457daa" providerId="ADAL" clId="{8BC1E89D-B205-4FCA-8E72-09FE78A246CE}" dt="2022-12-22T09:49:52.178" v="7993"/>
        <pc:sldMkLst>
          <pc:docMk/>
          <pc:sldMk cId="3051458129" sldId="365"/>
        </pc:sldMkLst>
      </pc:sldChg>
      <pc:sldChg chg="add ord">
        <pc:chgData name="Ewen Trafford" userId="e520b4bf-a196-48b7-bc10-b1590a457daa" providerId="ADAL" clId="{8BC1E89D-B205-4FCA-8E72-09FE78A246CE}" dt="2022-12-22T09:49:58.471" v="7995"/>
        <pc:sldMkLst>
          <pc:docMk/>
          <pc:sldMk cId="2048733380" sldId="366"/>
        </pc:sldMkLst>
      </pc:sldChg>
      <pc:sldChg chg="addSp delSp modSp add mod delCm">
        <pc:chgData name="Ewen Trafford" userId="e520b4bf-a196-48b7-bc10-b1590a457daa" providerId="ADAL" clId="{8BC1E89D-B205-4FCA-8E72-09FE78A246CE}" dt="2022-12-22T09:53:40.929" v="8031" actId="1076"/>
        <pc:sldMkLst>
          <pc:docMk/>
          <pc:sldMk cId="1011135435" sldId="367"/>
        </pc:sldMkLst>
        <pc:picChg chg="del">
          <ac:chgData name="Ewen Trafford" userId="e520b4bf-a196-48b7-bc10-b1590a457daa" providerId="ADAL" clId="{8BC1E89D-B205-4FCA-8E72-09FE78A246CE}" dt="2022-12-22T09:52:59.122" v="8023" actId="478"/>
          <ac:picMkLst>
            <pc:docMk/>
            <pc:sldMk cId="1011135435" sldId="367"/>
            <ac:picMk id="5" creationId="{0F73BB63-BC0D-C68F-2FE4-D7893120904D}"/>
          </ac:picMkLst>
        </pc:picChg>
        <pc:picChg chg="add mod">
          <ac:chgData name="Ewen Trafford" userId="e520b4bf-a196-48b7-bc10-b1590a457daa" providerId="ADAL" clId="{8BC1E89D-B205-4FCA-8E72-09FE78A246CE}" dt="2022-12-22T09:53:40.929" v="8031" actId="1076"/>
          <ac:picMkLst>
            <pc:docMk/>
            <pc:sldMk cId="1011135435" sldId="367"/>
            <ac:picMk id="6" creationId="{D43730C8-9EA2-65CD-2F0E-D28EEC6D1792}"/>
          </ac:picMkLst>
        </pc:picChg>
      </pc:sldChg>
      <pc:sldChg chg="add del">
        <pc:chgData name="Ewen Trafford" userId="e520b4bf-a196-48b7-bc10-b1590a457daa" providerId="ADAL" clId="{8BC1E89D-B205-4FCA-8E72-09FE78A246CE}" dt="2022-12-22T09:52:48.865" v="8020"/>
        <pc:sldMkLst>
          <pc:docMk/>
          <pc:sldMk cId="3173843209" sldId="367"/>
        </pc:sldMkLst>
      </pc:sldChg>
    </pc:docChg>
  </pc:docChgLst>
  <pc:docChgLst>
    <pc:chgData name="Frances Meek" userId="f3af35cc-3229-46e1-af36-3525661cfbd3" providerId="ADAL" clId="{0F9FBAEE-E6A3-4774-8C35-9BCE54E14581}"/>
    <pc:docChg chg="custSel modSld">
      <pc:chgData name="Frances Meek" userId="f3af35cc-3229-46e1-af36-3525661cfbd3" providerId="ADAL" clId="{0F9FBAEE-E6A3-4774-8C35-9BCE54E14581}" dt="2022-12-22T09:17:35.452" v="152"/>
      <pc:docMkLst>
        <pc:docMk/>
      </pc:docMkLst>
      <pc:sldChg chg="modSp mod">
        <pc:chgData name="Frances Meek" userId="f3af35cc-3229-46e1-af36-3525661cfbd3" providerId="ADAL" clId="{0F9FBAEE-E6A3-4774-8C35-9BCE54E14581}" dt="2022-12-22T08:37:40.586" v="31" actId="20577"/>
        <pc:sldMkLst>
          <pc:docMk/>
          <pc:sldMk cId="2831772784" sldId="320"/>
        </pc:sldMkLst>
        <pc:spChg chg="mod">
          <ac:chgData name="Frances Meek" userId="f3af35cc-3229-46e1-af36-3525661cfbd3" providerId="ADAL" clId="{0F9FBAEE-E6A3-4774-8C35-9BCE54E14581}" dt="2022-12-22T08:37:40.586" v="31" actId="20577"/>
          <ac:spMkLst>
            <pc:docMk/>
            <pc:sldMk cId="2831772784" sldId="320"/>
            <ac:spMk id="3" creationId="{B08F7FAB-511F-7730-95EA-CDCD60827684}"/>
          </ac:spMkLst>
        </pc:spChg>
      </pc:sldChg>
      <pc:sldChg chg="addCm">
        <pc:chgData name="Frances Meek" userId="f3af35cc-3229-46e1-af36-3525661cfbd3" providerId="ADAL" clId="{0F9FBAEE-E6A3-4774-8C35-9BCE54E14581}" dt="2022-12-22T08:40:45.808" v="34"/>
        <pc:sldMkLst>
          <pc:docMk/>
          <pc:sldMk cId="2939149858" sldId="322"/>
        </pc:sldMkLst>
      </pc:sldChg>
      <pc:sldChg chg="modSp mod">
        <pc:chgData name="Frances Meek" userId="f3af35cc-3229-46e1-af36-3525661cfbd3" providerId="ADAL" clId="{0F9FBAEE-E6A3-4774-8C35-9BCE54E14581}" dt="2022-12-22T08:58:49.585" v="52" actId="313"/>
        <pc:sldMkLst>
          <pc:docMk/>
          <pc:sldMk cId="482496951" sldId="329"/>
        </pc:sldMkLst>
        <pc:spChg chg="mod">
          <ac:chgData name="Frances Meek" userId="f3af35cc-3229-46e1-af36-3525661cfbd3" providerId="ADAL" clId="{0F9FBAEE-E6A3-4774-8C35-9BCE54E14581}" dt="2022-12-22T08:58:49.585" v="52" actId="313"/>
          <ac:spMkLst>
            <pc:docMk/>
            <pc:sldMk cId="482496951" sldId="329"/>
            <ac:spMk id="2" creationId="{AB7EBE14-55C0-C423-6860-80CFB347D346}"/>
          </ac:spMkLst>
        </pc:spChg>
      </pc:sldChg>
      <pc:sldChg chg="modSp mod addCm">
        <pc:chgData name="Frances Meek" userId="f3af35cc-3229-46e1-af36-3525661cfbd3" providerId="ADAL" clId="{0F9FBAEE-E6A3-4774-8C35-9BCE54E14581}" dt="2022-12-22T08:58:42.751" v="49"/>
        <pc:sldMkLst>
          <pc:docMk/>
          <pc:sldMk cId="3594171061" sldId="331"/>
        </pc:sldMkLst>
        <pc:graphicFrameChg chg="modGraphic">
          <ac:chgData name="Frances Meek" userId="f3af35cc-3229-46e1-af36-3525661cfbd3" providerId="ADAL" clId="{0F9FBAEE-E6A3-4774-8C35-9BCE54E14581}" dt="2022-12-22T08:57:11.154" v="48" actId="20577"/>
          <ac:graphicFrameMkLst>
            <pc:docMk/>
            <pc:sldMk cId="3594171061" sldId="331"/>
            <ac:graphicFrameMk id="4" creationId="{852C40F4-3A0C-2C57-5C1A-53EF072895F3}"/>
          </ac:graphicFrameMkLst>
        </pc:graphicFrameChg>
      </pc:sldChg>
      <pc:sldChg chg="addCm modCm">
        <pc:chgData name="Frances Meek" userId="f3af35cc-3229-46e1-af36-3525661cfbd3" providerId="ADAL" clId="{0F9FBAEE-E6A3-4774-8C35-9BCE54E14581}" dt="2022-12-22T09:01:10.296" v="54"/>
        <pc:sldMkLst>
          <pc:docMk/>
          <pc:sldMk cId="1867798484" sldId="341"/>
        </pc:sldMkLst>
      </pc:sldChg>
      <pc:sldChg chg="addCm">
        <pc:chgData name="Frances Meek" userId="f3af35cc-3229-46e1-af36-3525661cfbd3" providerId="ADAL" clId="{0F9FBAEE-E6A3-4774-8C35-9BCE54E14581}" dt="2022-12-22T09:17:35.452" v="152"/>
        <pc:sldMkLst>
          <pc:docMk/>
          <pc:sldMk cId="1628781729" sldId="345"/>
        </pc:sldMkLst>
      </pc:sldChg>
      <pc:sldChg chg="modSp mod">
        <pc:chgData name="Frances Meek" userId="f3af35cc-3229-46e1-af36-3525661cfbd3" providerId="ADAL" clId="{0F9FBAEE-E6A3-4774-8C35-9BCE54E14581}" dt="2022-12-22T09:14:33.140" v="151" actId="1076"/>
        <pc:sldMkLst>
          <pc:docMk/>
          <pc:sldMk cId="1044731279" sldId="350"/>
        </pc:sldMkLst>
        <pc:spChg chg="mod">
          <ac:chgData name="Frances Meek" userId="f3af35cc-3229-46e1-af36-3525661cfbd3" providerId="ADAL" clId="{0F9FBAEE-E6A3-4774-8C35-9BCE54E14581}" dt="2022-12-22T09:14:33.140" v="151" actId="1076"/>
          <ac:spMkLst>
            <pc:docMk/>
            <pc:sldMk cId="1044731279" sldId="350"/>
            <ac:spMk id="3" creationId="{3F4AB2AE-64C7-4EAD-7377-33BA885C3FC6}"/>
          </ac:spMkLst>
        </pc:spChg>
      </pc:sldChg>
      <pc:sldChg chg="addCm modCm">
        <pc:chgData name="Frances Meek" userId="f3af35cc-3229-46e1-af36-3525661cfbd3" providerId="ADAL" clId="{0F9FBAEE-E6A3-4774-8C35-9BCE54E14581}" dt="2022-12-22T09:10:44.881" v="68"/>
        <pc:sldMkLst>
          <pc:docMk/>
          <pc:sldMk cId="1109679171" sldId="354"/>
        </pc:sldMkLst>
      </pc:sldChg>
      <pc:sldChg chg="addCm">
        <pc:chgData name="Frances Meek" userId="f3af35cc-3229-46e1-af36-3525661cfbd3" providerId="ADAL" clId="{0F9FBAEE-E6A3-4774-8C35-9BCE54E14581}" dt="2022-12-22T08:38:18.021" v="32"/>
        <pc:sldMkLst>
          <pc:docMk/>
          <pc:sldMk cId="575452230" sldId="355"/>
        </pc:sldMkLst>
      </pc:sldChg>
      <pc:sldChg chg="addCm modCm">
        <pc:chgData name="Frances Meek" userId="f3af35cc-3229-46e1-af36-3525661cfbd3" providerId="ADAL" clId="{0F9FBAEE-E6A3-4774-8C35-9BCE54E14581}" dt="2022-12-22T08:52:38.259" v="45"/>
        <pc:sldMkLst>
          <pc:docMk/>
          <pc:sldMk cId="3516820143" sldId="356"/>
        </pc:sldMkLst>
      </pc:sldChg>
      <pc:sldChg chg="addCm">
        <pc:chgData name="Frances Meek" userId="f3af35cc-3229-46e1-af36-3525661cfbd3" providerId="ADAL" clId="{0F9FBAEE-E6A3-4774-8C35-9BCE54E14581}" dt="2022-12-22T08:43:14.086" v="36"/>
        <pc:sldMkLst>
          <pc:docMk/>
          <pc:sldMk cId="2093275823" sldId="357"/>
        </pc:sldMkLst>
      </pc:sldChg>
      <pc:sldChg chg="addCm">
        <pc:chgData name="Frances Meek" userId="f3af35cc-3229-46e1-af36-3525661cfbd3" providerId="ADAL" clId="{0F9FBAEE-E6A3-4774-8C35-9BCE54E14581}" dt="2022-12-22T08:41:38.605" v="35"/>
        <pc:sldMkLst>
          <pc:docMk/>
          <pc:sldMk cId="2644956436" sldId="358"/>
        </pc:sldMkLst>
      </pc:sldChg>
      <pc:sldChg chg="addCm modCm">
        <pc:chgData name="Frances Meek" userId="f3af35cc-3229-46e1-af36-3525661cfbd3" providerId="ADAL" clId="{0F9FBAEE-E6A3-4774-8C35-9BCE54E14581}" dt="2022-12-22T08:44:00.643" v="38"/>
        <pc:sldMkLst>
          <pc:docMk/>
          <pc:sldMk cId="311918694" sldId="359"/>
        </pc:sldMkLst>
      </pc:sldChg>
      <pc:sldChg chg="modSp mod addCm modCm">
        <pc:chgData name="Frances Meek" userId="f3af35cc-3229-46e1-af36-3525661cfbd3" providerId="ADAL" clId="{0F9FBAEE-E6A3-4774-8C35-9BCE54E14581}" dt="2022-12-22T08:45:34.161" v="43"/>
        <pc:sldMkLst>
          <pc:docMk/>
          <pc:sldMk cId="2377241707" sldId="360"/>
        </pc:sldMkLst>
        <pc:spChg chg="mod">
          <ac:chgData name="Frances Meek" userId="f3af35cc-3229-46e1-af36-3525661cfbd3" providerId="ADAL" clId="{0F9FBAEE-E6A3-4774-8C35-9BCE54E14581}" dt="2022-12-22T08:44:47.689" v="42" actId="20577"/>
          <ac:spMkLst>
            <pc:docMk/>
            <pc:sldMk cId="2377241707" sldId="360"/>
            <ac:spMk id="3" creationId="{BE28E501-5A4E-D1A3-A7D8-65D153A748C4}"/>
          </ac:spMkLst>
        </pc:spChg>
      </pc:sldChg>
      <pc:sldChg chg="addCm">
        <pc:chgData name="Frances Meek" userId="f3af35cc-3229-46e1-af36-3525661cfbd3" providerId="ADAL" clId="{0F9FBAEE-E6A3-4774-8C35-9BCE54E14581}" dt="2022-12-22T08:39:40.362" v="33"/>
        <pc:sldMkLst>
          <pc:docMk/>
          <pc:sldMk cId="804726735" sldId="361"/>
        </pc:sldMkLst>
      </pc:sldChg>
      <pc:sldChg chg="addCm">
        <pc:chgData name="Frances Meek" userId="f3af35cc-3229-46e1-af36-3525661cfbd3" providerId="ADAL" clId="{0F9FBAEE-E6A3-4774-8C35-9BCE54E14581}" dt="2022-12-22T09:02:31.801" v="55"/>
        <pc:sldMkLst>
          <pc:docMk/>
          <pc:sldMk cId="1843501141" sldId="362"/>
        </pc:sldMkLst>
      </pc:sldChg>
      <pc:sldChg chg="modSp mod addCm">
        <pc:chgData name="Frances Meek" userId="f3af35cc-3229-46e1-af36-3525661cfbd3" providerId="ADAL" clId="{0F9FBAEE-E6A3-4774-8C35-9BCE54E14581}" dt="2022-12-22T09:03:40.962" v="60"/>
        <pc:sldMkLst>
          <pc:docMk/>
          <pc:sldMk cId="1114898030" sldId="363"/>
        </pc:sldMkLst>
        <pc:spChg chg="mod">
          <ac:chgData name="Frances Meek" userId="f3af35cc-3229-46e1-af36-3525661cfbd3" providerId="ADAL" clId="{0F9FBAEE-E6A3-4774-8C35-9BCE54E14581}" dt="2022-12-22T09:02:44.478" v="56" actId="2711"/>
          <ac:spMkLst>
            <pc:docMk/>
            <pc:sldMk cId="1114898030" sldId="363"/>
            <ac:spMk id="15" creationId="{4038C834-0F0E-A664-BE21-5AF37C4A84C1}"/>
          </ac:spMkLst>
        </pc:spChg>
        <pc:spChg chg="mod">
          <ac:chgData name="Frances Meek" userId="f3af35cc-3229-46e1-af36-3525661cfbd3" providerId="ADAL" clId="{0F9FBAEE-E6A3-4774-8C35-9BCE54E14581}" dt="2022-12-22T09:02:49.849" v="57" actId="2711"/>
          <ac:spMkLst>
            <pc:docMk/>
            <pc:sldMk cId="1114898030" sldId="363"/>
            <ac:spMk id="16" creationId="{33D9C6F7-BC1E-ADCD-82FE-FDEA8A799EFA}"/>
          </ac:spMkLst>
        </pc:spChg>
        <pc:spChg chg="mod">
          <ac:chgData name="Frances Meek" userId="f3af35cc-3229-46e1-af36-3525661cfbd3" providerId="ADAL" clId="{0F9FBAEE-E6A3-4774-8C35-9BCE54E14581}" dt="2022-12-22T09:02:54.236" v="58" actId="2711"/>
          <ac:spMkLst>
            <pc:docMk/>
            <pc:sldMk cId="1114898030" sldId="363"/>
            <ac:spMk id="17" creationId="{703D906B-B082-202C-4499-9A4A546295FC}"/>
          </ac:spMkLst>
        </pc:spChg>
        <pc:spChg chg="mod">
          <ac:chgData name="Frances Meek" userId="f3af35cc-3229-46e1-af36-3525661cfbd3" providerId="ADAL" clId="{0F9FBAEE-E6A3-4774-8C35-9BCE54E14581}" dt="2022-12-22T09:02:58.597" v="59" actId="2711"/>
          <ac:spMkLst>
            <pc:docMk/>
            <pc:sldMk cId="1114898030" sldId="363"/>
            <ac:spMk id="18" creationId="{3832AD89-7D81-9E6E-036E-CBAB9D073748}"/>
          </ac:spMkLst>
        </pc:spChg>
      </pc:sldChg>
      <pc:sldChg chg="modSp mod addCm">
        <pc:chgData name="Frances Meek" userId="f3af35cc-3229-46e1-af36-3525661cfbd3" providerId="ADAL" clId="{0F9FBAEE-E6A3-4774-8C35-9BCE54E14581}" dt="2022-12-22T09:06:01.422" v="66"/>
        <pc:sldMkLst>
          <pc:docMk/>
          <pc:sldMk cId="2727605170" sldId="364"/>
        </pc:sldMkLst>
        <pc:spChg chg="mod">
          <ac:chgData name="Frances Meek" userId="f3af35cc-3229-46e1-af36-3525661cfbd3" providerId="ADAL" clId="{0F9FBAEE-E6A3-4774-8C35-9BCE54E14581}" dt="2022-12-22T09:04:48.466" v="61" actId="2711"/>
          <ac:spMkLst>
            <pc:docMk/>
            <pc:sldMk cId="2727605170" sldId="364"/>
            <ac:spMk id="10" creationId="{FB313506-983B-B319-B24C-24701C1FC030}"/>
          </ac:spMkLst>
        </pc:spChg>
        <pc:spChg chg="mod">
          <ac:chgData name="Frances Meek" userId="f3af35cc-3229-46e1-af36-3525661cfbd3" providerId="ADAL" clId="{0F9FBAEE-E6A3-4774-8C35-9BCE54E14581}" dt="2022-12-22T09:04:52.203" v="62" actId="2711"/>
          <ac:spMkLst>
            <pc:docMk/>
            <pc:sldMk cId="2727605170" sldId="364"/>
            <ac:spMk id="11" creationId="{664644A6-A9D7-45A9-3363-6C3856EEB38B}"/>
          </ac:spMkLst>
        </pc:spChg>
        <pc:spChg chg="mod">
          <ac:chgData name="Frances Meek" userId="f3af35cc-3229-46e1-af36-3525661cfbd3" providerId="ADAL" clId="{0F9FBAEE-E6A3-4774-8C35-9BCE54E14581}" dt="2022-12-22T09:04:56.379" v="63" actId="2711"/>
          <ac:spMkLst>
            <pc:docMk/>
            <pc:sldMk cId="2727605170" sldId="364"/>
            <ac:spMk id="12" creationId="{05C2986E-5820-1C37-17C8-334CEB18C9BE}"/>
          </ac:spMkLst>
        </pc:spChg>
        <pc:spChg chg="mod">
          <ac:chgData name="Frances Meek" userId="f3af35cc-3229-46e1-af36-3525661cfbd3" providerId="ADAL" clId="{0F9FBAEE-E6A3-4774-8C35-9BCE54E14581}" dt="2022-12-22T09:05:00.494" v="64" actId="2711"/>
          <ac:spMkLst>
            <pc:docMk/>
            <pc:sldMk cId="2727605170" sldId="364"/>
            <ac:spMk id="13" creationId="{B34091E2-8DDD-A9C3-B769-B558A16193F0}"/>
          </ac:spMkLst>
        </pc:spChg>
      </pc:sldChg>
    </pc:docChg>
  </pc:docChgLst>
  <pc:docChgLst>
    <pc:chgData name="Ewen Trafford" userId="e520b4bf-a196-48b7-bc10-b1590a457daa" providerId="ADAL" clId="{FAE4F14E-C27C-4B84-87D7-6E24C646B925}"/>
    <pc:docChg chg="undo custSel addSld delSld modSld sldOrd">
      <pc:chgData name="Ewen Trafford" userId="e520b4bf-a196-48b7-bc10-b1590a457daa" providerId="ADAL" clId="{FAE4F14E-C27C-4B84-87D7-6E24C646B925}" dt="2022-07-20T15:15:13.836" v="5407" actId="20577"/>
      <pc:docMkLst>
        <pc:docMk/>
      </pc:docMkLst>
      <pc:sldChg chg="modSp mod">
        <pc:chgData name="Ewen Trafford" userId="e520b4bf-a196-48b7-bc10-b1590a457daa" providerId="ADAL" clId="{FAE4F14E-C27C-4B84-87D7-6E24C646B925}" dt="2022-07-20T09:22:58.511" v="15" actId="20577"/>
        <pc:sldMkLst>
          <pc:docMk/>
          <pc:sldMk cId="1955166399" sldId="256"/>
        </pc:sldMkLst>
        <pc:spChg chg="mod">
          <ac:chgData name="Ewen Trafford" userId="e520b4bf-a196-48b7-bc10-b1590a457daa" providerId="ADAL" clId="{FAE4F14E-C27C-4B84-87D7-6E24C646B925}" dt="2022-07-20T09:22:58.511" v="15" actId="20577"/>
          <ac:spMkLst>
            <pc:docMk/>
            <pc:sldMk cId="1955166399" sldId="256"/>
            <ac:spMk id="2" creationId="{00000000-0000-0000-0000-000000000000}"/>
          </ac:spMkLst>
        </pc:spChg>
      </pc:sldChg>
      <pc:sldChg chg="modSp mod">
        <pc:chgData name="Ewen Trafford" userId="e520b4bf-a196-48b7-bc10-b1590a457daa" providerId="ADAL" clId="{FAE4F14E-C27C-4B84-87D7-6E24C646B925}" dt="2022-07-20T09:26:22.302" v="135" actId="20577"/>
        <pc:sldMkLst>
          <pc:docMk/>
          <pc:sldMk cId="2302005153" sldId="261"/>
        </pc:sldMkLst>
        <pc:spChg chg="mod">
          <ac:chgData name="Ewen Trafford" userId="e520b4bf-a196-48b7-bc10-b1590a457daa" providerId="ADAL" clId="{FAE4F14E-C27C-4B84-87D7-6E24C646B925}" dt="2022-07-20T09:26:22.302" v="135" actId="20577"/>
          <ac:spMkLst>
            <pc:docMk/>
            <pc:sldMk cId="2302005153" sldId="261"/>
            <ac:spMk id="2" creationId="{00000000-0000-0000-0000-000000000000}"/>
          </ac:spMkLst>
        </pc:spChg>
      </pc:sldChg>
      <pc:sldChg chg="delSp modSp mod">
        <pc:chgData name="Ewen Trafford" userId="e520b4bf-a196-48b7-bc10-b1590a457daa" providerId="ADAL" clId="{FAE4F14E-C27C-4B84-87D7-6E24C646B925}" dt="2022-07-20T15:14:15.737" v="5376" actId="20577"/>
        <pc:sldMkLst>
          <pc:docMk/>
          <pc:sldMk cId="3993973292" sldId="274"/>
        </pc:sldMkLst>
        <pc:spChg chg="mod">
          <ac:chgData name="Ewen Trafford" userId="e520b4bf-a196-48b7-bc10-b1590a457daa" providerId="ADAL" clId="{FAE4F14E-C27C-4B84-87D7-6E24C646B925}" dt="2022-07-20T09:23:55.502" v="59" actId="20577"/>
          <ac:spMkLst>
            <pc:docMk/>
            <pc:sldMk cId="3993973292" sldId="274"/>
            <ac:spMk id="2" creationId="{00000000-0000-0000-0000-000000000000}"/>
          </ac:spMkLst>
        </pc:spChg>
        <pc:spChg chg="del">
          <ac:chgData name="Ewen Trafford" userId="e520b4bf-a196-48b7-bc10-b1590a457daa" providerId="ADAL" clId="{FAE4F14E-C27C-4B84-87D7-6E24C646B925}" dt="2022-07-20T15:08:10.361" v="5080" actId="478"/>
          <ac:spMkLst>
            <pc:docMk/>
            <pc:sldMk cId="3993973292" sldId="274"/>
            <ac:spMk id="4" creationId="{0E2C25B3-6ACC-4992-A8BB-6CAB4A259EA0}"/>
          </ac:spMkLst>
        </pc:spChg>
        <pc:spChg chg="mod">
          <ac:chgData name="Ewen Trafford" userId="e520b4bf-a196-48b7-bc10-b1590a457daa" providerId="ADAL" clId="{FAE4F14E-C27C-4B84-87D7-6E24C646B925}" dt="2022-07-20T15:14:15.737" v="5376" actId="20577"/>
          <ac:spMkLst>
            <pc:docMk/>
            <pc:sldMk cId="3993973292" sldId="274"/>
            <ac:spMk id="6" creationId="{A705A842-B67A-1091-B43C-016955CEB56E}"/>
          </ac:spMkLst>
        </pc:spChg>
      </pc:sldChg>
      <pc:sldChg chg="addSp delSp modSp mod">
        <pc:chgData name="Ewen Trafford" userId="e520b4bf-a196-48b7-bc10-b1590a457daa" providerId="ADAL" clId="{FAE4F14E-C27C-4B84-87D7-6E24C646B925}" dt="2022-07-20T09:37:09.617" v="793" actId="20577"/>
        <pc:sldMkLst>
          <pc:docMk/>
          <pc:sldMk cId="2831772784" sldId="320"/>
        </pc:sldMkLst>
        <pc:spChg chg="mod">
          <ac:chgData name="Ewen Trafford" userId="e520b4bf-a196-48b7-bc10-b1590a457daa" providerId="ADAL" clId="{FAE4F14E-C27C-4B84-87D7-6E24C646B925}" dt="2022-07-20T09:37:09.617" v="793" actId="20577"/>
          <ac:spMkLst>
            <pc:docMk/>
            <pc:sldMk cId="2831772784" sldId="320"/>
            <ac:spMk id="3" creationId="{B08F7FAB-511F-7730-95EA-CDCD60827684}"/>
          </ac:spMkLst>
        </pc:spChg>
        <pc:picChg chg="del">
          <ac:chgData name="Ewen Trafford" userId="e520b4bf-a196-48b7-bc10-b1590a457daa" providerId="ADAL" clId="{FAE4F14E-C27C-4B84-87D7-6E24C646B925}" dt="2022-07-20T09:23:02.401" v="16" actId="478"/>
          <ac:picMkLst>
            <pc:docMk/>
            <pc:sldMk cId="2831772784" sldId="320"/>
            <ac:picMk id="4" creationId="{266E6B86-D6B0-43F9-AAD5-786D4B0275C5}"/>
          </ac:picMkLst>
        </pc:picChg>
        <pc:picChg chg="add mod">
          <ac:chgData name="Ewen Trafford" userId="e520b4bf-a196-48b7-bc10-b1590a457daa" providerId="ADAL" clId="{FAE4F14E-C27C-4B84-87D7-6E24C646B925}" dt="2022-07-20T09:36:33.927" v="638" actId="1076"/>
          <ac:picMkLst>
            <pc:docMk/>
            <pc:sldMk cId="2831772784" sldId="320"/>
            <ac:picMk id="8194" creationId="{86C749E3-951D-48B7-AC0D-E75B5DA10A49}"/>
          </ac:picMkLst>
        </pc:picChg>
      </pc:sldChg>
      <pc:sldChg chg="addSp delSp modSp mod">
        <pc:chgData name="Ewen Trafford" userId="e520b4bf-a196-48b7-bc10-b1590a457daa" providerId="ADAL" clId="{FAE4F14E-C27C-4B84-87D7-6E24C646B925}" dt="2022-07-20T14:58:45.895" v="4868" actId="1076"/>
        <pc:sldMkLst>
          <pc:docMk/>
          <pc:sldMk cId="1195441026" sldId="321"/>
        </pc:sldMkLst>
        <pc:spChg chg="mod">
          <ac:chgData name="Ewen Trafford" userId="e520b4bf-a196-48b7-bc10-b1590a457daa" providerId="ADAL" clId="{FAE4F14E-C27C-4B84-87D7-6E24C646B925}" dt="2022-07-20T09:28:21.005" v="167" actId="20577"/>
          <ac:spMkLst>
            <pc:docMk/>
            <pc:sldMk cId="1195441026" sldId="321"/>
            <ac:spMk id="2" creationId="{8C8F01D9-49FA-6C29-3674-01A422037CD5}"/>
          </ac:spMkLst>
        </pc:spChg>
        <pc:spChg chg="mod">
          <ac:chgData name="Ewen Trafford" userId="e520b4bf-a196-48b7-bc10-b1590a457daa" providerId="ADAL" clId="{FAE4F14E-C27C-4B84-87D7-6E24C646B925}" dt="2022-07-20T09:44:01.750" v="1756" actId="14100"/>
          <ac:spMkLst>
            <pc:docMk/>
            <pc:sldMk cId="1195441026" sldId="321"/>
            <ac:spMk id="3" creationId="{11F1639A-5BD0-7C4B-622B-50E9B9EA0EE0}"/>
          </ac:spMkLst>
        </pc:spChg>
        <pc:picChg chg="del">
          <ac:chgData name="Ewen Trafford" userId="e520b4bf-a196-48b7-bc10-b1590a457daa" providerId="ADAL" clId="{FAE4F14E-C27C-4B84-87D7-6E24C646B925}" dt="2022-07-20T09:23:03.557" v="17" actId="478"/>
          <ac:picMkLst>
            <pc:docMk/>
            <pc:sldMk cId="1195441026" sldId="321"/>
            <ac:picMk id="5" creationId="{1D67924C-E146-384E-9245-F1AFE23699DB}"/>
          </ac:picMkLst>
        </pc:picChg>
        <pc:picChg chg="del">
          <ac:chgData name="Ewen Trafford" userId="e520b4bf-a196-48b7-bc10-b1590a457daa" providerId="ADAL" clId="{FAE4F14E-C27C-4B84-87D7-6E24C646B925}" dt="2022-07-20T09:23:04.061" v="18" actId="478"/>
          <ac:picMkLst>
            <pc:docMk/>
            <pc:sldMk cId="1195441026" sldId="321"/>
            <ac:picMk id="6" creationId="{D40977C9-0B84-92AF-7B25-021B4DD5C9DB}"/>
          </ac:picMkLst>
        </pc:picChg>
        <pc:picChg chg="add mod">
          <ac:chgData name="Ewen Trafford" userId="e520b4bf-a196-48b7-bc10-b1590a457daa" providerId="ADAL" clId="{FAE4F14E-C27C-4B84-87D7-6E24C646B925}" dt="2022-07-20T14:58:45.895" v="4868" actId="1076"/>
          <ac:picMkLst>
            <pc:docMk/>
            <pc:sldMk cId="1195441026" sldId="321"/>
            <ac:picMk id="7" creationId="{AD589BE0-4090-487A-9A6C-B1F411F45B18}"/>
          </ac:picMkLst>
        </pc:picChg>
      </pc:sldChg>
      <pc:sldChg chg="addSp delSp modSp mod ord">
        <pc:chgData name="Ewen Trafford" userId="e520b4bf-a196-48b7-bc10-b1590a457daa" providerId="ADAL" clId="{FAE4F14E-C27C-4B84-87D7-6E24C646B925}" dt="2022-07-20T09:41:12.178" v="1308" actId="20577"/>
        <pc:sldMkLst>
          <pc:docMk/>
          <pc:sldMk cId="2939149858" sldId="322"/>
        </pc:sldMkLst>
        <pc:spChg chg="mod">
          <ac:chgData name="Ewen Trafford" userId="e520b4bf-a196-48b7-bc10-b1590a457daa" providerId="ADAL" clId="{FAE4F14E-C27C-4B84-87D7-6E24C646B925}" dt="2022-07-20T09:26:37.205" v="136"/>
          <ac:spMkLst>
            <pc:docMk/>
            <pc:sldMk cId="2939149858" sldId="322"/>
            <ac:spMk id="2" creationId="{C0656FD1-4489-F55F-822B-620888FD55A9}"/>
          </ac:spMkLst>
        </pc:spChg>
        <pc:spChg chg="mod">
          <ac:chgData name="Ewen Trafford" userId="e520b4bf-a196-48b7-bc10-b1590a457daa" providerId="ADAL" clId="{FAE4F14E-C27C-4B84-87D7-6E24C646B925}" dt="2022-07-20T09:37:20.437" v="798" actId="113"/>
          <ac:spMkLst>
            <pc:docMk/>
            <pc:sldMk cId="2939149858" sldId="322"/>
            <ac:spMk id="3" creationId="{BE28E501-5A4E-D1A3-A7D8-65D153A748C4}"/>
          </ac:spMkLst>
        </pc:spChg>
        <pc:spChg chg="add mod">
          <ac:chgData name="Ewen Trafford" userId="e520b4bf-a196-48b7-bc10-b1590a457daa" providerId="ADAL" clId="{FAE4F14E-C27C-4B84-87D7-6E24C646B925}" dt="2022-07-20T09:41:12.178" v="1308" actId="20577"/>
          <ac:spMkLst>
            <pc:docMk/>
            <pc:sldMk cId="2939149858" sldId="322"/>
            <ac:spMk id="6" creationId="{37F21B2D-0E3B-42DC-85A8-4511EB39D461}"/>
          </ac:spMkLst>
        </pc:spChg>
        <pc:picChg chg="del">
          <ac:chgData name="Ewen Trafford" userId="e520b4bf-a196-48b7-bc10-b1590a457daa" providerId="ADAL" clId="{FAE4F14E-C27C-4B84-87D7-6E24C646B925}" dt="2022-07-20T09:23:05.840" v="20" actId="478"/>
          <ac:picMkLst>
            <pc:docMk/>
            <pc:sldMk cId="2939149858" sldId="322"/>
            <ac:picMk id="4" creationId="{2320BE9A-E343-A8AC-9545-61AB76A6E6A8}"/>
          </ac:picMkLst>
        </pc:picChg>
        <pc:picChg chg="del">
          <ac:chgData name="Ewen Trafford" userId="e520b4bf-a196-48b7-bc10-b1590a457daa" providerId="ADAL" clId="{FAE4F14E-C27C-4B84-87D7-6E24C646B925}" dt="2022-07-20T09:23:05.400" v="19" actId="478"/>
          <ac:picMkLst>
            <pc:docMk/>
            <pc:sldMk cId="2939149858" sldId="322"/>
            <ac:picMk id="5" creationId="{7140EEAC-D98D-96D7-8F04-8B43C494531F}"/>
          </ac:picMkLst>
        </pc:picChg>
        <pc:picChg chg="add mod">
          <ac:chgData name="Ewen Trafford" userId="e520b4bf-a196-48b7-bc10-b1590a457daa" providerId="ADAL" clId="{FAE4F14E-C27C-4B84-87D7-6E24C646B925}" dt="2022-07-20T09:37:50.569" v="807" actId="1076"/>
          <ac:picMkLst>
            <pc:docMk/>
            <pc:sldMk cId="2939149858" sldId="322"/>
            <ac:picMk id="9218" creationId="{D3E4E176-8338-46ED-93E7-BF00525E8562}"/>
          </ac:picMkLst>
        </pc:picChg>
      </pc:sldChg>
      <pc:sldChg chg="addSp delSp modSp mod">
        <pc:chgData name="Ewen Trafford" userId="e520b4bf-a196-48b7-bc10-b1590a457daa" providerId="ADAL" clId="{FAE4F14E-C27C-4B84-87D7-6E24C646B925}" dt="2022-07-20T09:43:36.036" v="1714" actId="20577"/>
        <pc:sldMkLst>
          <pc:docMk/>
          <pc:sldMk cId="1855309931" sldId="323"/>
        </pc:sldMkLst>
        <pc:spChg chg="mod">
          <ac:chgData name="Ewen Trafford" userId="e520b4bf-a196-48b7-bc10-b1590a457daa" providerId="ADAL" clId="{FAE4F14E-C27C-4B84-87D7-6E24C646B925}" dt="2022-07-20T09:41:26.439" v="1320" actId="20577"/>
          <ac:spMkLst>
            <pc:docMk/>
            <pc:sldMk cId="1855309931" sldId="323"/>
            <ac:spMk id="2" creationId="{CF40B81A-2823-8056-34AE-B3308191DF5B}"/>
          </ac:spMkLst>
        </pc:spChg>
        <pc:spChg chg="mod">
          <ac:chgData name="Ewen Trafford" userId="e520b4bf-a196-48b7-bc10-b1590a457daa" providerId="ADAL" clId="{FAE4F14E-C27C-4B84-87D7-6E24C646B925}" dt="2022-07-20T09:43:36.036" v="1714" actId="20577"/>
          <ac:spMkLst>
            <pc:docMk/>
            <pc:sldMk cId="1855309931" sldId="323"/>
            <ac:spMk id="3" creationId="{53B4885A-37FC-0B67-2285-D9A9B9DC8C09}"/>
          </ac:spMkLst>
        </pc:spChg>
        <pc:spChg chg="del">
          <ac:chgData name="Ewen Trafford" userId="e520b4bf-a196-48b7-bc10-b1590a457daa" providerId="ADAL" clId="{FAE4F14E-C27C-4B84-87D7-6E24C646B925}" dt="2022-07-20T09:23:09.541" v="23" actId="478"/>
          <ac:spMkLst>
            <pc:docMk/>
            <pc:sldMk cId="1855309931" sldId="323"/>
            <ac:spMk id="7" creationId="{1AFEF03E-522B-B4FE-2D07-18CFD5CBADE7}"/>
          </ac:spMkLst>
        </pc:spChg>
        <pc:picChg chg="del">
          <ac:chgData name="Ewen Trafford" userId="e520b4bf-a196-48b7-bc10-b1590a457daa" providerId="ADAL" clId="{FAE4F14E-C27C-4B84-87D7-6E24C646B925}" dt="2022-07-20T09:23:07.641" v="22" actId="478"/>
          <ac:picMkLst>
            <pc:docMk/>
            <pc:sldMk cId="1855309931" sldId="323"/>
            <ac:picMk id="5" creationId="{02D3BF99-D455-9CDD-8934-3BE81F53533F}"/>
          </ac:picMkLst>
        </pc:picChg>
        <pc:picChg chg="del">
          <ac:chgData name="Ewen Trafford" userId="e520b4bf-a196-48b7-bc10-b1590a457daa" providerId="ADAL" clId="{FAE4F14E-C27C-4B84-87D7-6E24C646B925}" dt="2022-07-20T09:23:07.181" v="21" actId="478"/>
          <ac:picMkLst>
            <pc:docMk/>
            <pc:sldMk cId="1855309931" sldId="323"/>
            <ac:picMk id="6" creationId="{4D21DF80-DAFE-2DF9-0B67-7DC830836C82}"/>
          </ac:picMkLst>
        </pc:picChg>
        <pc:picChg chg="add mod">
          <ac:chgData name="Ewen Trafford" userId="e520b4bf-a196-48b7-bc10-b1590a457daa" providerId="ADAL" clId="{FAE4F14E-C27C-4B84-87D7-6E24C646B925}" dt="2022-07-20T09:42:28.279" v="1435" actId="1076"/>
          <ac:picMkLst>
            <pc:docMk/>
            <pc:sldMk cId="1855309931" sldId="323"/>
            <ac:picMk id="10242" creationId="{4E8EE500-503D-43C4-A91C-2151635CF21C}"/>
          </ac:picMkLst>
        </pc:picChg>
      </pc:sldChg>
      <pc:sldChg chg="addSp delSp modSp mod">
        <pc:chgData name="Ewen Trafford" userId="e520b4bf-a196-48b7-bc10-b1590a457daa" providerId="ADAL" clId="{FAE4F14E-C27C-4B84-87D7-6E24C646B925}" dt="2022-07-20T15:15:13.836" v="5407" actId="20577"/>
        <pc:sldMkLst>
          <pc:docMk/>
          <pc:sldMk cId="1577086551" sldId="325"/>
        </pc:sldMkLst>
        <pc:spChg chg="mod">
          <ac:chgData name="Ewen Trafford" userId="e520b4bf-a196-48b7-bc10-b1590a457daa" providerId="ADAL" clId="{FAE4F14E-C27C-4B84-87D7-6E24C646B925}" dt="2022-07-20T09:50:25.192" v="1762" actId="20577"/>
          <ac:spMkLst>
            <pc:docMk/>
            <pc:sldMk cId="1577086551" sldId="325"/>
            <ac:spMk id="2" creationId="{6CFEA9C0-24EE-EB05-6ED1-A7679B590EE1}"/>
          </ac:spMkLst>
        </pc:spChg>
        <pc:spChg chg="mod">
          <ac:chgData name="Ewen Trafford" userId="e520b4bf-a196-48b7-bc10-b1590a457daa" providerId="ADAL" clId="{FAE4F14E-C27C-4B84-87D7-6E24C646B925}" dt="2022-07-20T15:15:13.836" v="5407" actId="20577"/>
          <ac:spMkLst>
            <pc:docMk/>
            <pc:sldMk cId="1577086551" sldId="325"/>
            <ac:spMk id="3" creationId="{25ECF5C8-B231-B34A-F7D8-C96CD9FECAD2}"/>
          </ac:spMkLst>
        </pc:spChg>
        <pc:spChg chg="del">
          <ac:chgData name="Ewen Trafford" userId="e520b4bf-a196-48b7-bc10-b1590a457daa" providerId="ADAL" clId="{FAE4F14E-C27C-4B84-87D7-6E24C646B925}" dt="2022-07-20T09:23:14.001" v="25" actId="478"/>
          <ac:spMkLst>
            <pc:docMk/>
            <pc:sldMk cId="1577086551" sldId="325"/>
            <ac:spMk id="7" creationId="{F3322B2B-D7B9-430C-F868-28B0CC1B6741}"/>
          </ac:spMkLst>
        </pc:spChg>
        <pc:picChg chg="del">
          <ac:chgData name="Ewen Trafford" userId="e520b4bf-a196-48b7-bc10-b1590a457daa" providerId="ADAL" clId="{FAE4F14E-C27C-4B84-87D7-6E24C646B925}" dt="2022-07-20T09:23:12.572" v="24" actId="478"/>
          <ac:picMkLst>
            <pc:docMk/>
            <pc:sldMk cId="1577086551" sldId="325"/>
            <ac:picMk id="5" creationId="{5A213300-F078-AC3D-1810-9E18A127F545}"/>
          </ac:picMkLst>
        </pc:picChg>
        <pc:picChg chg="add mod">
          <ac:chgData name="Ewen Trafford" userId="e520b4bf-a196-48b7-bc10-b1590a457daa" providerId="ADAL" clId="{FAE4F14E-C27C-4B84-87D7-6E24C646B925}" dt="2022-07-20T14:59:47.376" v="4874" actId="1076"/>
          <ac:picMkLst>
            <pc:docMk/>
            <pc:sldMk cId="1577086551" sldId="325"/>
            <ac:picMk id="6" creationId="{B5DA4EED-71FE-4FFF-9D8D-9F8B7293DC09}"/>
          </ac:picMkLst>
        </pc:picChg>
      </pc:sldChg>
      <pc:sldChg chg="addSp delSp modSp mod">
        <pc:chgData name="Ewen Trafford" userId="e520b4bf-a196-48b7-bc10-b1590a457daa" providerId="ADAL" clId="{FAE4F14E-C27C-4B84-87D7-6E24C646B925}" dt="2022-07-20T15:14:28.162" v="5380" actId="20577"/>
        <pc:sldMkLst>
          <pc:docMk/>
          <pc:sldMk cId="2100916119" sldId="326"/>
        </pc:sldMkLst>
        <pc:spChg chg="mod">
          <ac:chgData name="Ewen Trafford" userId="e520b4bf-a196-48b7-bc10-b1590a457daa" providerId="ADAL" clId="{FAE4F14E-C27C-4B84-87D7-6E24C646B925}" dt="2022-07-20T15:14:28.162" v="5380" actId="20577"/>
          <ac:spMkLst>
            <pc:docMk/>
            <pc:sldMk cId="2100916119" sldId="326"/>
            <ac:spMk id="2" creationId="{FAD0F388-1AED-A299-E614-C6A84905AD5C}"/>
          </ac:spMkLst>
        </pc:spChg>
        <pc:spChg chg="mod">
          <ac:chgData name="Ewen Trafford" userId="e520b4bf-a196-48b7-bc10-b1590a457daa" providerId="ADAL" clId="{FAE4F14E-C27C-4B84-87D7-6E24C646B925}" dt="2022-07-20T11:59:45.045" v="3765" actId="20577"/>
          <ac:spMkLst>
            <pc:docMk/>
            <pc:sldMk cId="2100916119" sldId="326"/>
            <ac:spMk id="3" creationId="{2C665282-E317-C20B-46E2-966005E09A87}"/>
          </ac:spMkLst>
        </pc:spChg>
        <pc:spChg chg="add mod">
          <ac:chgData name="Ewen Trafford" userId="e520b4bf-a196-48b7-bc10-b1590a457daa" providerId="ADAL" clId="{FAE4F14E-C27C-4B84-87D7-6E24C646B925}" dt="2022-07-20T10:17:52.718" v="3503" actId="1076"/>
          <ac:spMkLst>
            <pc:docMk/>
            <pc:sldMk cId="2100916119" sldId="326"/>
            <ac:spMk id="9" creationId="{6BD147FE-DBCC-4E61-85D1-762F2A23080D}"/>
          </ac:spMkLst>
        </pc:spChg>
        <pc:picChg chg="del">
          <ac:chgData name="Ewen Trafford" userId="e520b4bf-a196-48b7-bc10-b1590a457daa" providerId="ADAL" clId="{FAE4F14E-C27C-4B84-87D7-6E24C646B925}" dt="2022-07-20T09:23:19.330" v="29" actId="478"/>
          <ac:picMkLst>
            <pc:docMk/>
            <pc:sldMk cId="2100916119" sldId="326"/>
            <ac:picMk id="4" creationId="{61CB6161-61EA-9ABC-6922-40D38C300152}"/>
          </ac:picMkLst>
        </pc:picChg>
        <pc:picChg chg="add mod">
          <ac:chgData name="Ewen Trafford" userId="e520b4bf-a196-48b7-bc10-b1590a457daa" providerId="ADAL" clId="{FAE4F14E-C27C-4B84-87D7-6E24C646B925}" dt="2022-07-20T10:16:33.512" v="3370"/>
          <ac:picMkLst>
            <pc:docMk/>
            <pc:sldMk cId="2100916119" sldId="326"/>
            <ac:picMk id="6" creationId="{20716ED3-36CE-4322-91E3-11220169F1F6}"/>
          </ac:picMkLst>
        </pc:picChg>
        <pc:picChg chg="del">
          <ac:chgData name="Ewen Trafford" userId="e520b4bf-a196-48b7-bc10-b1590a457daa" providerId="ADAL" clId="{FAE4F14E-C27C-4B84-87D7-6E24C646B925}" dt="2022-07-20T09:23:18.942" v="28" actId="478"/>
          <ac:picMkLst>
            <pc:docMk/>
            <pc:sldMk cId="2100916119" sldId="326"/>
            <ac:picMk id="8" creationId="{325B5A34-3789-9371-6C56-95DDBFCAA5DE}"/>
          </ac:picMkLst>
        </pc:picChg>
        <pc:cxnChg chg="add mod">
          <ac:chgData name="Ewen Trafford" userId="e520b4bf-a196-48b7-bc10-b1590a457daa" providerId="ADAL" clId="{FAE4F14E-C27C-4B84-87D7-6E24C646B925}" dt="2022-07-20T10:17:57.888" v="3504" actId="14100"/>
          <ac:cxnSpMkLst>
            <pc:docMk/>
            <pc:sldMk cId="2100916119" sldId="326"/>
            <ac:cxnSpMk id="7" creationId="{BD1FF4A3-7732-4698-8925-8CED1E8B3556}"/>
          </ac:cxnSpMkLst>
        </pc:cxnChg>
      </pc:sldChg>
      <pc:sldChg chg="delSp del mod">
        <pc:chgData name="Ewen Trafford" userId="e520b4bf-a196-48b7-bc10-b1590a457daa" providerId="ADAL" clId="{FAE4F14E-C27C-4B84-87D7-6E24C646B925}" dt="2022-07-20T09:53:05.622" v="2176" actId="47"/>
        <pc:sldMkLst>
          <pc:docMk/>
          <pc:sldMk cId="2039023108" sldId="327"/>
        </pc:sldMkLst>
        <pc:picChg chg="del">
          <ac:chgData name="Ewen Trafford" userId="e520b4bf-a196-48b7-bc10-b1590a457daa" providerId="ADAL" clId="{FAE4F14E-C27C-4B84-87D7-6E24C646B925}" dt="2022-07-20T09:23:24.762" v="33" actId="478"/>
          <ac:picMkLst>
            <pc:docMk/>
            <pc:sldMk cId="2039023108" sldId="327"/>
            <ac:picMk id="4" creationId="{4B9D2D8E-FB45-73C2-A641-146E099160E6}"/>
          </ac:picMkLst>
        </pc:picChg>
      </pc:sldChg>
      <pc:sldChg chg="addSp delSp add del mod">
        <pc:chgData name="Ewen Trafford" userId="e520b4bf-a196-48b7-bc10-b1590a457daa" providerId="ADAL" clId="{FAE4F14E-C27C-4B84-87D7-6E24C646B925}" dt="2022-07-20T13:28:55.941" v="4133" actId="47"/>
        <pc:sldMkLst>
          <pc:docMk/>
          <pc:sldMk cId="153349484" sldId="330"/>
        </pc:sldMkLst>
        <pc:picChg chg="add del">
          <ac:chgData name="Ewen Trafford" userId="e520b4bf-a196-48b7-bc10-b1590a457daa" providerId="ADAL" clId="{FAE4F14E-C27C-4B84-87D7-6E24C646B925}" dt="2022-07-20T09:23:37.483" v="38" actId="478"/>
          <ac:picMkLst>
            <pc:docMk/>
            <pc:sldMk cId="153349484" sldId="330"/>
            <ac:picMk id="5" creationId="{A372EA35-DA00-C5AE-AEED-B18E342AE263}"/>
          </ac:picMkLst>
        </pc:picChg>
        <pc:picChg chg="del">
          <ac:chgData name="Ewen Trafford" userId="e520b4bf-a196-48b7-bc10-b1590a457daa" providerId="ADAL" clId="{FAE4F14E-C27C-4B84-87D7-6E24C646B925}" dt="2022-07-20T13:28:37.833" v="4130" actId="478"/>
          <ac:picMkLst>
            <pc:docMk/>
            <pc:sldMk cId="153349484" sldId="330"/>
            <ac:picMk id="12" creationId="{07CEC015-C920-8907-7F05-DA2C64A16579}"/>
          </ac:picMkLst>
        </pc:picChg>
      </pc:sldChg>
      <pc:sldChg chg="addSp delSp modSp mod delCm">
        <pc:chgData name="Ewen Trafford" userId="e520b4bf-a196-48b7-bc10-b1590a457daa" providerId="ADAL" clId="{FAE4F14E-C27C-4B84-87D7-6E24C646B925}" dt="2022-07-20T14:56:04.522" v="4734" actId="13926"/>
        <pc:sldMkLst>
          <pc:docMk/>
          <pc:sldMk cId="3594171061" sldId="331"/>
        </pc:sldMkLst>
        <pc:spChg chg="add del">
          <ac:chgData name="Ewen Trafford" userId="e520b4bf-a196-48b7-bc10-b1590a457daa" providerId="ADAL" clId="{FAE4F14E-C27C-4B84-87D7-6E24C646B925}" dt="2022-07-20T14:48:58.474" v="4245" actId="478"/>
          <ac:spMkLst>
            <pc:docMk/>
            <pc:sldMk cId="3594171061" sldId="331"/>
            <ac:spMk id="3" creationId="{F125752D-9A62-EC8F-B592-EBFBCA644C0A}"/>
          </ac:spMkLst>
        </pc:spChg>
        <pc:graphicFrameChg chg="mod modGraphic">
          <ac:chgData name="Ewen Trafford" userId="e520b4bf-a196-48b7-bc10-b1590a457daa" providerId="ADAL" clId="{FAE4F14E-C27C-4B84-87D7-6E24C646B925}" dt="2022-07-20T14:56:04.522" v="4734" actId="13926"/>
          <ac:graphicFrameMkLst>
            <pc:docMk/>
            <pc:sldMk cId="3594171061" sldId="331"/>
            <ac:graphicFrameMk id="4" creationId="{852C40F4-3A0C-2C57-5C1A-53EF072895F3}"/>
          </ac:graphicFrameMkLst>
        </pc:graphicFrameChg>
      </pc:sldChg>
      <pc:sldChg chg="del">
        <pc:chgData name="Ewen Trafford" userId="e520b4bf-a196-48b7-bc10-b1590a457daa" providerId="ADAL" clId="{FAE4F14E-C27C-4B84-87D7-6E24C646B925}" dt="2022-07-20T09:23:27.479" v="34" actId="47"/>
        <pc:sldMkLst>
          <pc:docMk/>
          <pc:sldMk cId="477617242" sldId="332"/>
        </pc:sldMkLst>
      </pc:sldChg>
      <pc:sldChg chg="addSp delSp modSp mod">
        <pc:chgData name="Ewen Trafford" userId="e520b4bf-a196-48b7-bc10-b1590a457daa" providerId="ADAL" clId="{FAE4F14E-C27C-4B84-87D7-6E24C646B925}" dt="2022-07-20T12:07:12.550" v="4129" actId="20577"/>
        <pc:sldMkLst>
          <pc:docMk/>
          <pc:sldMk cId="2621305010" sldId="333"/>
        </pc:sldMkLst>
        <pc:spChg chg="mod">
          <ac:chgData name="Ewen Trafford" userId="e520b4bf-a196-48b7-bc10-b1590a457daa" providerId="ADAL" clId="{FAE4F14E-C27C-4B84-87D7-6E24C646B925}" dt="2022-07-20T09:52:57.050" v="2172" actId="20577"/>
          <ac:spMkLst>
            <pc:docMk/>
            <pc:sldMk cId="2621305010" sldId="333"/>
            <ac:spMk id="2" creationId="{FDEA6281-391E-66E2-1DB3-80FC7F3BDEE5}"/>
          </ac:spMkLst>
        </pc:spChg>
        <pc:spChg chg="mod">
          <ac:chgData name="Ewen Trafford" userId="e520b4bf-a196-48b7-bc10-b1590a457daa" providerId="ADAL" clId="{FAE4F14E-C27C-4B84-87D7-6E24C646B925}" dt="2022-07-20T12:07:12.550" v="4129" actId="20577"/>
          <ac:spMkLst>
            <pc:docMk/>
            <pc:sldMk cId="2621305010" sldId="333"/>
            <ac:spMk id="3" creationId="{4064AF50-EC9A-5285-EC07-7CD21438E99F}"/>
          </ac:spMkLst>
        </pc:spChg>
        <pc:spChg chg="add mod">
          <ac:chgData name="Ewen Trafford" userId="e520b4bf-a196-48b7-bc10-b1590a457daa" providerId="ADAL" clId="{FAE4F14E-C27C-4B84-87D7-6E24C646B925}" dt="2022-07-20T10:19:18.049" v="3524" actId="20577"/>
          <ac:spMkLst>
            <pc:docMk/>
            <pc:sldMk cId="2621305010" sldId="333"/>
            <ac:spMk id="9" creationId="{2A6216CF-87A2-41A9-BB3C-C3E6FE558FD7}"/>
          </ac:spMkLst>
        </pc:spChg>
        <pc:picChg chg="add mod modCrop">
          <ac:chgData name="Ewen Trafford" userId="e520b4bf-a196-48b7-bc10-b1590a457daa" providerId="ADAL" clId="{FAE4F14E-C27C-4B84-87D7-6E24C646B925}" dt="2022-07-20T10:18:58.570" v="3519" actId="1076"/>
          <ac:picMkLst>
            <pc:docMk/>
            <pc:sldMk cId="2621305010" sldId="333"/>
            <ac:picMk id="6" creationId="{DCFCA221-29AC-4E11-B474-BB6638413258}"/>
          </ac:picMkLst>
        </pc:picChg>
        <pc:picChg chg="del">
          <ac:chgData name="Ewen Trafford" userId="e520b4bf-a196-48b7-bc10-b1590a457daa" providerId="ADAL" clId="{FAE4F14E-C27C-4B84-87D7-6E24C646B925}" dt="2022-07-20T09:23:21.290" v="30" actId="478"/>
          <ac:picMkLst>
            <pc:docMk/>
            <pc:sldMk cId="2621305010" sldId="333"/>
            <ac:picMk id="7" creationId="{1BD31FB6-BA1A-F48F-1F64-EC35B64043FD}"/>
          </ac:picMkLst>
        </pc:picChg>
        <pc:picChg chg="del">
          <ac:chgData name="Ewen Trafford" userId="e520b4bf-a196-48b7-bc10-b1590a457daa" providerId="ADAL" clId="{FAE4F14E-C27C-4B84-87D7-6E24C646B925}" dt="2022-07-20T09:23:21.630" v="31" actId="478"/>
          <ac:picMkLst>
            <pc:docMk/>
            <pc:sldMk cId="2621305010" sldId="333"/>
            <ac:picMk id="11" creationId="{BCE24CF7-63E5-78B9-F8EC-E571288AF740}"/>
          </ac:picMkLst>
        </pc:picChg>
        <pc:cxnChg chg="add mod">
          <ac:chgData name="Ewen Trafford" userId="e520b4bf-a196-48b7-bc10-b1590a457daa" providerId="ADAL" clId="{FAE4F14E-C27C-4B84-87D7-6E24C646B925}" dt="2022-07-20T10:19:10.195" v="3521" actId="14100"/>
          <ac:cxnSpMkLst>
            <pc:docMk/>
            <pc:sldMk cId="2621305010" sldId="333"/>
            <ac:cxnSpMk id="8" creationId="{3963AA22-0FEB-4D90-8DA5-AC84C7AB218E}"/>
          </ac:cxnSpMkLst>
        </pc:cxnChg>
      </pc:sldChg>
      <pc:sldChg chg="delSp del mod">
        <pc:chgData name="Ewen Trafford" userId="e520b4bf-a196-48b7-bc10-b1590a457daa" providerId="ADAL" clId="{FAE4F14E-C27C-4B84-87D7-6E24C646B925}" dt="2022-07-20T09:53:04.769" v="2175" actId="47"/>
        <pc:sldMkLst>
          <pc:docMk/>
          <pc:sldMk cId="1992076852" sldId="334"/>
        </pc:sldMkLst>
        <pc:picChg chg="del">
          <ac:chgData name="Ewen Trafford" userId="e520b4bf-a196-48b7-bc10-b1590a457daa" providerId="ADAL" clId="{FAE4F14E-C27C-4B84-87D7-6E24C646B925}" dt="2022-07-20T09:23:23.072" v="32" actId="478"/>
          <ac:picMkLst>
            <pc:docMk/>
            <pc:sldMk cId="1992076852" sldId="334"/>
            <ac:picMk id="4" creationId="{42C93042-633F-35AF-BA5B-9D626703DB6D}"/>
          </ac:picMkLst>
        </pc:picChg>
      </pc:sldChg>
      <pc:sldChg chg="addSp delSp modSp mod">
        <pc:chgData name="Ewen Trafford" userId="e520b4bf-a196-48b7-bc10-b1590a457daa" providerId="ADAL" clId="{FAE4F14E-C27C-4B84-87D7-6E24C646B925}" dt="2022-07-20T10:16:03.948" v="3369" actId="14100"/>
        <pc:sldMkLst>
          <pc:docMk/>
          <pc:sldMk cId="568958115" sldId="335"/>
        </pc:sldMkLst>
        <pc:spChg chg="mod">
          <ac:chgData name="Ewen Trafford" userId="e520b4bf-a196-48b7-bc10-b1590a457daa" providerId="ADAL" clId="{FAE4F14E-C27C-4B84-87D7-6E24C646B925}" dt="2022-07-20T09:52:35.142" v="2121" actId="20577"/>
          <ac:spMkLst>
            <pc:docMk/>
            <pc:sldMk cId="568958115" sldId="335"/>
            <ac:spMk id="2" creationId="{69E0D44B-2259-C19F-790A-E64A638ADA8A}"/>
          </ac:spMkLst>
        </pc:spChg>
        <pc:spChg chg="mod">
          <ac:chgData name="Ewen Trafford" userId="e520b4bf-a196-48b7-bc10-b1590a457daa" providerId="ADAL" clId="{FAE4F14E-C27C-4B84-87D7-6E24C646B925}" dt="2022-07-20T10:12:57.698" v="3157" actId="20577"/>
          <ac:spMkLst>
            <pc:docMk/>
            <pc:sldMk cId="568958115" sldId="335"/>
            <ac:spMk id="3" creationId="{7A1ACDE8-06F6-9A1F-FEA6-E8329882C225}"/>
          </ac:spMkLst>
        </pc:spChg>
        <pc:spChg chg="del">
          <ac:chgData name="Ewen Trafford" userId="e520b4bf-a196-48b7-bc10-b1590a457daa" providerId="ADAL" clId="{FAE4F14E-C27C-4B84-87D7-6E24C646B925}" dt="2022-07-20T09:23:16.762" v="27" actId="478"/>
          <ac:spMkLst>
            <pc:docMk/>
            <pc:sldMk cId="568958115" sldId="335"/>
            <ac:spMk id="5" creationId="{02286E42-A545-A71F-96AC-AB93716B6D80}"/>
          </ac:spMkLst>
        </pc:spChg>
        <pc:spChg chg="add mod">
          <ac:chgData name="Ewen Trafford" userId="e520b4bf-a196-48b7-bc10-b1590a457daa" providerId="ADAL" clId="{FAE4F14E-C27C-4B84-87D7-6E24C646B925}" dt="2022-07-20T10:16:03.948" v="3369" actId="14100"/>
          <ac:spMkLst>
            <pc:docMk/>
            <pc:sldMk cId="568958115" sldId="335"/>
            <ac:spMk id="10" creationId="{5D6F8204-A5D0-4993-A32A-69D3D0976CF9}"/>
          </ac:spMkLst>
        </pc:spChg>
        <pc:picChg chg="del">
          <ac:chgData name="Ewen Trafford" userId="e520b4bf-a196-48b7-bc10-b1590a457daa" providerId="ADAL" clId="{FAE4F14E-C27C-4B84-87D7-6E24C646B925}" dt="2022-07-20T09:23:15.702" v="26" actId="478"/>
          <ac:picMkLst>
            <pc:docMk/>
            <pc:sldMk cId="568958115" sldId="335"/>
            <ac:picMk id="4" creationId="{7B8C6D31-DF0E-38D3-7B2D-2F4D49B1FB5A}"/>
          </ac:picMkLst>
        </pc:picChg>
        <pc:picChg chg="add mod modCrop">
          <ac:chgData name="Ewen Trafford" userId="e520b4bf-a196-48b7-bc10-b1590a457daa" providerId="ADAL" clId="{FAE4F14E-C27C-4B84-87D7-6E24C646B925}" dt="2022-07-20T10:13:42.929" v="3166" actId="1076"/>
          <ac:picMkLst>
            <pc:docMk/>
            <pc:sldMk cId="568958115" sldId="335"/>
            <ac:picMk id="6" creationId="{3E71CD65-71F4-43C3-B8AF-4A3A951DC28D}"/>
          </ac:picMkLst>
        </pc:picChg>
        <pc:cxnChg chg="add mod">
          <ac:chgData name="Ewen Trafford" userId="e520b4bf-a196-48b7-bc10-b1590a457daa" providerId="ADAL" clId="{FAE4F14E-C27C-4B84-87D7-6E24C646B925}" dt="2022-07-20T10:15:08.807" v="3185" actId="1076"/>
          <ac:cxnSpMkLst>
            <pc:docMk/>
            <pc:sldMk cId="568958115" sldId="335"/>
            <ac:cxnSpMk id="8" creationId="{9766098F-B058-4857-809C-D33A706C1FDD}"/>
          </ac:cxnSpMkLst>
        </pc:cxnChg>
      </pc:sldChg>
      <pc:sldChg chg="delSp del mod">
        <pc:chgData name="Ewen Trafford" userId="e520b4bf-a196-48b7-bc10-b1590a457daa" providerId="ADAL" clId="{FAE4F14E-C27C-4B84-87D7-6E24C646B925}" dt="2022-07-20T09:23:40.584" v="40" actId="47"/>
        <pc:sldMkLst>
          <pc:docMk/>
          <pc:sldMk cId="1320110399" sldId="336"/>
        </pc:sldMkLst>
        <pc:picChg chg="del">
          <ac:chgData name="Ewen Trafford" userId="e520b4bf-a196-48b7-bc10-b1590a457daa" providerId="ADAL" clId="{FAE4F14E-C27C-4B84-87D7-6E24C646B925}" dt="2022-07-20T09:23:39.622" v="39" actId="478"/>
          <ac:picMkLst>
            <pc:docMk/>
            <pc:sldMk cId="1320110399" sldId="336"/>
            <ac:picMk id="7" creationId="{CEBF10CC-61FD-3B64-0BD8-DBBE6622F123}"/>
          </ac:picMkLst>
        </pc:picChg>
      </pc:sldChg>
      <pc:sldChg chg="del">
        <pc:chgData name="Ewen Trafford" userId="e520b4bf-a196-48b7-bc10-b1590a457daa" providerId="ADAL" clId="{FAE4F14E-C27C-4B84-87D7-6E24C646B925}" dt="2022-07-20T09:23:47.165" v="43" actId="47"/>
        <pc:sldMkLst>
          <pc:docMk/>
          <pc:sldMk cId="553280098" sldId="337"/>
        </pc:sldMkLst>
      </pc:sldChg>
      <pc:sldChg chg="modSp mod">
        <pc:chgData name="Ewen Trafford" userId="e520b4bf-a196-48b7-bc10-b1590a457daa" providerId="ADAL" clId="{FAE4F14E-C27C-4B84-87D7-6E24C646B925}" dt="2022-07-20T15:03:29.790" v="4876" actId="20577"/>
        <pc:sldMkLst>
          <pc:docMk/>
          <pc:sldMk cId="2046763801" sldId="338"/>
        </pc:sldMkLst>
        <pc:spChg chg="mod">
          <ac:chgData name="Ewen Trafford" userId="e520b4bf-a196-48b7-bc10-b1590a457daa" providerId="ADAL" clId="{FAE4F14E-C27C-4B84-87D7-6E24C646B925}" dt="2022-07-20T09:26:37.205" v="136"/>
          <ac:spMkLst>
            <pc:docMk/>
            <pc:sldMk cId="2046763801" sldId="338"/>
            <ac:spMk id="2" creationId="{CB2517A4-E10A-E444-1061-434E356416A6}"/>
          </ac:spMkLst>
        </pc:spChg>
        <pc:spChg chg="mod">
          <ac:chgData name="Ewen Trafford" userId="e520b4bf-a196-48b7-bc10-b1590a457daa" providerId="ADAL" clId="{FAE4F14E-C27C-4B84-87D7-6E24C646B925}" dt="2022-07-20T15:03:29.790" v="4876" actId="20577"/>
          <ac:spMkLst>
            <pc:docMk/>
            <pc:sldMk cId="2046763801" sldId="338"/>
            <ac:spMk id="3" creationId="{CDC99BCA-D4B3-5B9E-85FC-708932B92CBD}"/>
          </ac:spMkLst>
        </pc:spChg>
      </pc:sldChg>
      <pc:sldChg chg="modSp mod">
        <pc:chgData name="Ewen Trafford" userId="e520b4bf-a196-48b7-bc10-b1590a457daa" providerId="ADAL" clId="{FAE4F14E-C27C-4B84-87D7-6E24C646B925}" dt="2022-07-20T15:03:35.082" v="4878" actId="113"/>
        <pc:sldMkLst>
          <pc:docMk/>
          <pc:sldMk cId="2070260529" sldId="339"/>
        </pc:sldMkLst>
        <pc:spChg chg="mod">
          <ac:chgData name="Ewen Trafford" userId="e520b4bf-a196-48b7-bc10-b1590a457daa" providerId="ADAL" clId="{FAE4F14E-C27C-4B84-87D7-6E24C646B925}" dt="2022-07-20T09:26:37.205" v="136"/>
          <ac:spMkLst>
            <pc:docMk/>
            <pc:sldMk cId="2070260529" sldId="339"/>
            <ac:spMk id="2" creationId="{7F902433-BE09-580A-3E8C-C0DDD80ACC8F}"/>
          </ac:spMkLst>
        </pc:spChg>
        <pc:spChg chg="mod">
          <ac:chgData name="Ewen Trafford" userId="e520b4bf-a196-48b7-bc10-b1590a457daa" providerId="ADAL" clId="{FAE4F14E-C27C-4B84-87D7-6E24C646B925}" dt="2022-07-20T15:03:35.082" v="4878" actId="113"/>
          <ac:spMkLst>
            <pc:docMk/>
            <pc:sldMk cId="2070260529" sldId="339"/>
            <ac:spMk id="3" creationId="{82844BDE-4E6A-0B46-4D93-2FCABBF069E7}"/>
          </ac:spMkLst>
        </pc:spChg>
      </pc:sldChg>
      <pc:sldChg chg="modSp del">
        <pc:chgData name="Ewen Trafford" userId="e520b4bf-a196-48b7-bc10-b1590a457daa" providerId="ADAL" clId="{FAE4F14E-C27C-4B84-87D7-6E24C646B925}" dt="2022-07-20T15:03:38.179" v="4879" actId="47"/>
        <pc:sldMkLst>
          <pc:docMk/>
          <pc:sldMk cId="661775352" sldId="340"/>
        </pc:sldMkLst>
        <pc:spChg chg="mod">
          <ac:chgData name="Ewen Trafford" userId="e520b4bf-a196-48b7-bc10-b1590a457daa" providerId="ADAL" clId="{FAE4F14E-C27C-4B84-87D7-6E24C646B925}" dt="2022-07-20T09:26:37.205" v="136"/>
          <ac:spMkLst>
            <pc:docMk/>
            <pc:sldMk cId="661775352" sldId="340"/>
            <ac:spMk id="2" creationId="{D4D718B0-5CE8-6F0E-60F1-7D3FD91C2880}"/>
          </ac:spMkLst>
        </pc:spChg>
        <pc:spChg chg="mod">
          <ac:chgData name="Ewen Trafford" userId="e520b4bf-a196-48b7-bc10-b1590a457daa" providerId="ADAL" clId="{FAE4F14E-C27C-4B84-87D7-6E24C646B925}" dt="2022-07-20T09:26:37.205" v="136"/>
          <ac:spMkLst>
            <pc:docMk/>
            <pc:sldMk cId="661775352" sldId="340"/>
            <ac:spMk id="3" creationId="{125DC89D-D05E-9771-9226-3C1B0A19742E}"/>
          </ac:spMkLst>
        </pc:spChg>
      </pc:sldChg>
      <pc:sldChg chg="delSp modSp mod">
        <pc:chgData name="Ewen Trafford" userId="e520b4bf-a196-48b7-bc10-b1590a457daa" providerId="ADAL" clId="{FAE4F14E-C27C-4B84-87D7-6E24C646B925}" dt="2022-07-20T15:03:26.753" v="4875" actId="20577"/>
        <pc:sldMkLst>
          <pc:docMk/>
          <pc:sldMk cId="1867798484" sldId="341"/>
        </pc:sldMkLst>
        <pc:spChg chg="mod">
          <ac:chgData name="Ewen Trafford" userId="e520b4bf-a196-48b7-bc10-b1590a457daa" providerId="ADAL" clId="{FAE4F14E-C27C-4B84-87D7-6E24C646B925}" dt="2022-07-20T15:03:26.753" v="4875" actId="20577"/>
          <ac:spMkLst>
            <pc:docMk/>
            <pc:sldMk cId="1867798484" sldId="341"/>
            <ac:spMk id="3" creationId="{B08F7FAB-511F-7730-95EA-CDCD60827684}"/>
          </ac:spMkLst>
        </pc:spChg>
        <pc:picChg chg="del">
          <ac:chgData name="Ewen Trafford" userId="e520b4bf-a196-48b7-bc10-b1590a457daa" providerId="ADAL" clId="{FAE4F14E-C27C-4B84-87D7-6E24C646B925}" dt="2022-07-20T09:24:01.143" v="61" actId="478"/>
          <ac:picMkLst>
            <pc:docMk/>
            <pc:sldMk cId="1867798484" sldId="341"/>
            <ac:picMk id="4" creationId="{266E6B86-D6B0-43F9-AAD5-786D4B0275C5}"/>
          </ac:picMkLst>
        </pc:picChg>
      </pc:sldChg>
      <pc:sldChg chg="del">
        <pc:chgData name="Ewen Trafford" userId="e520b4bf-a196-48b7-bc10-b1590a457daa" providerId="ADAL" clId="{FAE4F14E-C27C-4B84-87D7-6E24C646B925}" dt="2022-07-20T15:03:39.259" v="4880" actId="47"/>
        <pc:sldMkLst>
          <pc:docMk/>
          <pc:sldMk cId="653686736" sldId="342"/>
        </pc:sldMkLst>
      </pc:sldChg>
      <pc:sldChg chg="del">
        <pc:chgData name="Ewen Trafford" userId="e520b4bf-a196-48b7-bc10-b1590a457daa" providerId="ADAL" clId="{FAE4F14E-C27C-4B84-87D7-6E24C646B925}" dt="2022-07-20T15:03:40.609" v="4881" actId="47"/>
        <pc:sldMkLst>
          <pc:docMk/>
          <pc:sldMk cId="236659418" sldId="343"/>
        </pc:sldMkLst>
      </pc:sldChg>
      <pc:sldChg chg="del">
        <pc:chgData name="Ewen Trafford" userId="e520b4bf-a196-48b7-bc10-b1590a457daa" providerId="ADAL" clId="{FAE4F14E-C27C-4B84-87D7-6E24C646B925}" dt="2022-07-20T15:03:41.955" v="4882" actId="47"/>
        <pc:sldMkLst>
          <pc:docMk/>
          <pc:sldMk cId="32424236" sldId="344"/>
        </pc:sldMkLst>
      </pc:sldChg>
      <pc:sldChg chg="modSp mod">
        <pc:chgData name="Ewen Trafford" userId="e520b4bf-a196-48b7-bc10-b1590a457daa" providerId="ADAL" clId="{FAE4F14E-C27C-4B84-87D7-6E24C646B925}" dt="2022-07-20T09:25:49.191" v="112" actId="20577"/>
        <pc:sldMkLst>
          <pc:docMk/>
          <pc:sldMk cId="1628781729" sldId="345"/>
        </pc:sldMkLst>
        <pc:spChg chg="mod">
          <ac:chgData name="Ewen Trafford" userId="e520b4bf-a196-48b7-bc10-b1590a457daa" providerId="ADAL" clId="{FAE4F14E-C27C-4B84-87D7-6E24C646B925}" dt="2022-07-20T09:25:49.191" v="112" actId="20577"/>
          <ac:spMkLst>
            <pc:docMk/>
            <pc:sldMk cId="1628781729" sldId="345"/>
            <ac:spMk id="2" creationId="{74B8B1D9-E25C-F40A-522B-54113616FBDB}"/>
          </ac:spMkLst>
        </pc:spChg>
        <pc:spChg chg="mod">
          <ac:chgData name="Ewen Trafford" userId="e520b4bf-a196-48b7-bc10-b1590a457daa" providerId="ADAL" clId="{FAE4F14E-C27C-4B84-87D7-6E24C646B925}" dt="2022-07-20T09:25:40.823" v="95" actId="20577"/>
          <ac:spMkLst>
            <pc:docMk/>
            <pc:sldMk cId="1628781729" sldId="345"/>
            <ac:spMk id="3" creationId="{8CAB9D22-B491-9AFA-4800-DD173F69AF8D}"/>
          </ac:spMkLst>
        </pc:spChg>
      </pc:sldChg>
      <pc:sldChg chg="modSp del">
        <pc:chgData name="Ewen Trafford" userId="e520b4bf-a196-48b7-bc10-b1590a457daa" providerId="ADAL" clId="{FAE4F14E-C27C-4B84-87D7-6E24C646B925}" dt="2022-07-20T15:03:42.873" v="4883" actId="47"/>
        <pc:sldMkLst>
          <pc:docMk/>
          <pc:sldMk cId="3066457160" sldId="346"/>
        </pc:sldMkLst>
        <pc:spChg chg="mod">
          <ac:chgData name="Ewen Trafford" userId="e520b4bf-a196-48b7-bc10-b1590a457daa" providerId="ADAL" clId="{FAE4F14E-C27C-4B84-87D7-6E24C646B925}" dt="2022-07-20T09:26:37.205" v="136"/>
          <ac:spMkLst>
            <pc:docMk/>
            <pc:sldMk cId="3066457160" sldId="346"/>
            <ac:spMk id="2" creationId="{469EB1B7-A19D-26FC-21D7-5DB81FCC9A5C}"/>
          </ac:spMkLst>
        </pc:spChg>
        <pc:spChg chg="mod">
          <ac:chgData name="Ewen Trafford" userId="e520b4bf-a196-48b7-bc10-b1590a457daa" providerId="ADAL" clId="{FAE4F14E-C27C-4B84-87D7-6E24C646B925}" dt="2022-07-20T09:26:37.205" v="136"/>
          <ac:spMkLst>
            <pc:docMk/>
            <pc:sldMk cId="3066457160" sldId="346"/>
            <ac:spMk id="6" creationId="{8C0A5466-C6A6-09FA-0B0D-161CA462D4C8}"/>
          </ac:spMkLst>
        </pc:spChg>
      </pc:sldChg>
      <pc:sldChg chg="modSp mod">
        <pc:chgData name="Ewen Trafford" userId="e520b4bf-a196-48b7-bc10-b1590a457daa" providerId="ADAL" clId="{FAE4F14E-C27C-4B84-87D7-6E24C646B925}" dt="2022-07-20T09:25:56.615" v="113" actId="20577"/>
        <pc:sldMkLst>
          <pc:docMk/>
          <pc:sldMk cId="2216651741" sldId="349"/>
        </pc:sldMkLst>
        <pc:spChg chg="mod">
          <ac:chgData name="Ewen Trafford" userId="e520b4bf-a196-48b7-bc10-b1590a457daa" providerId="ADAL" clId="{FAE4F14E-C27C-4B84-87D7-6E24C646B925}" dt="2022-07-20T09:25:56.615" v="113" actId="20577"/>
          <ac:spMkLst>
            <pc:docMk/>
            <pc:sldMk cId="2216651741" sldId="349"/>
            <ac:spMk id="3" creationId="{2B2F653F-C430-F503-517E-CDF8E13CD0EC}"/>
          </ac:spMkLst>
        </pc:spChg>
      </pc:sldChg>
      <pc:sldChg chg="delSp modSp mod">
        <pc:chgData name="Ewen Trafford" userId="e520b4bf-a196-48b7-bc10-b1590a457daa" providerId="ADAL" clId="{FAE4F14E-C27C-4B84-87D7-6E24C646B925}" dt="2022-07-20T15:05:37.672" v="4888" actId="113"/>
        <pc:sldMkLst>
          <pc:docMk/>
          <pc:sldMk cId="1044731279" sldId="350"/>
        </pc:sldMkLst>
        <pc:spChg chg="mod">
          <ac:chgData name="Ewen Trafford" userId="e520b4bf-a196-48b7-bc10-b1590a457daa" providerId="ADAL" clId="{FAE4F14E-C27C-4B84-87D7-6E24C646B925}" dt="2022-07-20T09:26:37.205" v="136"/>
          <ac:spMkLst>
            <pc:docMk/>
            <pc:sldMk cId="1044731279" sldId="350"/>
            <ac:spMk id="2" creationId="{09C8F7D6-0DE9-55CD-510F-91955FB21153}"/>
          </ac:spMkLst>
        </pc:spChg>
        <pc:spChg chg="mod">
          <ac:chgData name="Ewen Trafford" userId="e520b4bf-a196-48b7-bc10-b1590a457daa" providerId="ADAL" clId="{FAE4F14E-C27C-4B84-87D7-6E24C646B925}" dt="2022-07-20T15:05:37.672" v="4888" actId="113"/>
          <ac:spMkLst>
            <pc:docMk/>
            <pc:sldMk cId="1044731279" sldId="350"/>
            <ac:spMk id="3" creationId="{3F4AB2AE-64C7-4EAD-7377-33BA885C3FC6}"/>
          </ac:spMkLst>
        </pc:spChg>
        <pc:spChg chg="del">
          <ac:chgData name="Ewen Trafford" userId="e520b4bf-a196-48b7-bc10-b1590a457daa" providerId="ADAL" clId="{FAE4F14E-C27C-4B84-87D7-6E24C646B925}" dt="2022-07-20T09:26:17.053" v="119" actId="478"/>
          <ac:spMkLst>
            <pc:docMk/>
            <pc:sldMk cId="1044731279" sldId="350"/>
            <ac:spMk id="4" creationId="{7E793C40-9CB1-7AF8-E20C-CC91F8CD64DA}"/>
          </ac:spMkLst>
        </pc:spChg>
      </pc:sldChg>
      <pc:sldChg chg="del">
        <pc:chgData name="Ewen Trafford" userId="e520b4bf-a196-48b7-bc10-b1590a457daa" providerId="ADAL" clId="{FAE4F14E-C27C-4B84-87D7-6E24C646B925}" dt="2022-07-20T09:26:08.129" v="116" actId="47"/>
        <pc:sldMkLst>
          <pc:docMk/>
          <pc:sldMk cId="595403577" sldId="352"/>
        </pc:sldMkLst>
      </pc:sldChg>
      <pc:sldChg chg="modSp del mod">
        <pc:chgData name="Ewen Trafford" userId="e520b4bf-a196-48b7-bc10-b1590a457daa" providerId="ADAL" clId="{FAE4F14E-C27C-4B84-87D7-6E24C646B925}" dt="2022-07-20T15:03:46.944" v="4884" actId="47"/>
        <pc:sldMkLst>
          <pc:docMk/>
          <pc:sldMk cId="1709732832" sldId="353"/>
        </pc:sldMkLst>
        <pc:spChg chg="mod">
          <ac:chgData name="Ewen Trafford" userId="e520b4bf-a196-48b7-bc10-b1590a457daa" providerId="ADAL" clId="{FAE4F14E-C27C-4B84-87D7-6E24C646B925}" dt="2022-07-20T09:25:59.494" v="114" actId="20577"/>
          <ac:spMkLst>
            <pc:docMk/>
            <pc:sldMk cId="1709732832" sldId="353"/>
            <ac:spMk id="3" creationId="{B16FC004-1120-161A-ACD7-501951F35921}"/>
          </ac:spMkLst>
        </pc:spChg>
      </pc:sldChg>
      <pc:sldChg chg="modSp mod">
        <pc:chgData name="Ewen Trafford" userId="e520b4bf-a196-48b7-bc10-b1590a457daa" providerId="ADAL" clId="{FAE4F14E-C27C-4B84-87D7-6E24C646B925}" dt="2022-07-20T15:03:55.272" v="4887" actId="20577"/>
        <pc:sldMkLst>
          <pc:docMk/>
          <pc:sldMk cId="1109679171" sldId="354"/>
        </pc:sldMkLst>
        <pc:spChg chg="mod">
          <ac:chgData name="Ewen Trafford" userId="e520b4bf-a196-48b7-bc10-b1590a457daa" providerId="ADAL" clId="{FAE4F14E-C27C-4B84-87D7-6E24C646B925}" dt="2022-07-20T15:03:55.272" v="4887" actId="20577"/>
          <ac:spMkLst>
            <pc:docMk/>
            <pc:sldMk cId="1109679171" sldId="354"/>
            <ac:spMk id="2" creationId="{3D9957A6-0FFC-F702-9FBB-59B31771F969}"/>
          </ac:spMkLst>
        </pc:spChg>
        <pc:spChg chg="mod">
          <ac:chgData name="Ewen Trafford" userId="e520b4bf-a196-48b7-bc10-b1590a457daa" providerId="ADAL" clId="{FAE4F14E-C27C-4B84-87D7-6E24C646B925}" dt="2022-07-20T09:26:02.713" v="115" actId="20577"/>
          <ac:spMkLst>
            <pc:docMk/>
            <pc:sldMk cId="1109679171" sldId="354"/>
            <ac:spMk id="3" creationId="{5204CA75-A31A-AD47-DC3C-C19E15F38F87}"/>
          </ac:spMkLst>
        </pc:spChg>
      </pc:sldChg>
      <pc:sldChg chg="addSp modSp add mod">
        <pc:chgData name="Ewen Trafford" userId="e520b4bf-a196-48b7-bc10-b1590a457daa" providerId="ADAL" clId="{FAE4F14E-C27C-4B84-87D7-6E24C646B925}" dt="2022-07-20T10:07:53.014" v="2690" actId="20577"/>
        <pc:sldMkLst>
          <pc:docMk/>
          <pc:sldMk cId="357386720" sldId="355"/>
        </pc:sldMkLst>
        <pc:spChg chg="mod">
          <ac:chgData name="Ewen Trafford" userId="e520b4bf-a196-48b7-bc10-b1590a457daa" providerId="ADAL" clId="{FAE4F14E-C27C-4B84-87D7-6E24C646B925}" dt="2022-07-20T10:00:27.563" v="2222" actId="20577"/>
          <ac:spMkLst>
            <pc:docMk/>
            <pc:sldMk cId="357386720" sldId="355"/>
            <ac:spMk id="2" creationId="{6CFEA9C0-24EE-EB05-6ED1-A7679B590EE1}"/>
          </ac:spMkLst>
        </pc:spChg>
        <pc:spChg chg="mod">
          <ac:chgData name="Ewen Trafford" userId="e520b4bf-a196-48b7-bc10-b1590a457daa" providerId="ADAL" clId="{FAE4F14E-C27C-4B84-87D7-6E24C646B925}" dt="2022-07-20T10:07:53.014" v="2690" actId="20577"/>
          <ac:spMkLst>
            <pc:docMk/>
            <pc:sldMk cId="357386720" sldId="355"/>
            <ac:spMk id="3" creationId="{25ECF5C8-B231-B34A-F7D8-C96CD9FECAD2}"/>
          </ac:spMkLst>
        </pc:spChg>
        <pc:picChg chg="add mod ord modCrop">
          <ac:chgData name="Ewen Trafford" userId="e520b4bf-a196-48b7-bc10-b1590a457daa" providerId="ADAL" clId="{FAE4F14E-C27C-4B84-87D7-6E24C646B925}" dt="2022-07-20T10:05:34.638" v="2648" actId="1076"/>
          <ac:picMkLst>
            <pc:docMk/>
            <pc:sldMk cId="357386720" sldId="355"/>
            <ac:picMk id="5" creationId="{A5CA9058-D510-4993-A9ED-7CB8F06634CE}"/>
          </ac:picMkLst>
        </pc:picChg>
      </pc:sldChg>
      <pc:sldChg chg="modSp add mod">
        <pc:chgData name="Ewen Trafford" userId="e520b4bf-a196-48b7-bc10-b1590a457daa" providerId="ADAL" clId="{FAE4F14E-C27C-4B84-87D7-6E24C646B925}" dt="2022-07-20T14:56:56.207" v="4862" actId="20577"/>
        <pc:sldMkLst>
          <pc:docMk/>
          <pc:sldMk cId="2227979570" sldId="356"/>
        </pc:sldMkLst>
        <pc:graphicFrameChg chg="mod modGraphic">
          <ac:chgData name="Ewen Trafford" userId="e520b4bf-a196-48b7-bc10-b1590a457daa" providerId="ADAL" clId="{FAE4F14E-C27C-4B84-87D7-6E24C646B925}" dt="2022-07-20T14:56:56.207" v="4862" actId="20577"/>
          <ac:graphicFrameMkLst>
            <pc:docMk/>
            <pc:sldMk cId="2227979570" sldId="356"/>
            <ac:graphicFrameMk id="4" creationId="{852C40F4-3A0C-2C57-5C1A-53EF072895F3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595EDE-C814-4531-BA28-B0829ACBCA95}" type="datetimeFigureOut">
              <a:rPr lang="en-GB" smtClean="0"/>
              <a:t>22/12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73C9BA-5544-4F63-A48C-49913C4BC2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08443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73C9BA-5544-4F63-A48C-49913C4BC280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26522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2452" y="3531477"/>
            <a:ext cx="9144000" cy="73309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4400" b="1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410729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53512" y="587760"/>
            <a:ext cx="9144000" cy="63549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4000" b="1" i="0">
                <a:solidFill>
                  <a:srgbClr val="EF9F3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53512" y="3065488"/>
            <a:ext cx="9144000" cy="3087973"/>
          </a:xfrm>
          <a:prstGeom prst="rect">
            <a:avLst/>
          </a:prstGeom>
        </p:spPr>
        <p:txBody>
          <a:bodyPr lIns="0" tIns="0" rIns="0" bIns="0"/>
          <a:lstStyle>
            <a:lvl1pPr marL="285750" indent="-285750" algn="l">
              <a:buFont typeface="Arial" charset="0"/>
              <a:buChar char="•"/>
              <a:defRPr sz="1800"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8237676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9274" y="1563798"/>
            <a:ext cx="9720000" cy="72000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3400" b="1" i="0">
                <a:solidFill>
                  <a:srgbClr val="EF9F3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69276" y="2571092"/>
            <a:ext cx="9720000" cy="3600000"/>
          </a:xfrm>
          <a:prstGeom prst="rect">
            <a:avLst/>
          </a:prstGeom>
        </p:spPr>
        <p:txBody>
          <a:bodyPr lIns="0" tIns="0" rIns="0" bIns="0" numCol="1" anchor="t"/>
          <a:lstStyle>
            <a:lvl1pPr marL="285750" indent="-285750" algn="l">
              <a:buSzPct val="90000"/>
              <a:buFont typeface="Arial" charset="0"/>
              <a:buChar char="•"/>
              <a:defRPr sz="2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1551343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6209274" y="2571092"/>
            <a:ext cx="4680000" cy="3600000"/>
          </a:xfrm>
          <a:prstGeom prst="rect">
            <a:avLst/>
          </a:prstGeom>
          <a:solidFill>
            <a:srgbClr val="FCE3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69276" y="2571092"/>
            <a:ext cx="4680000" cy="360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285750" indent="-285750">
              <a:buSzPct val="90000"/>
              <a:buFont typeface="Arial" charset="0"/>
              <a:buChar char="•"/>
              <a:defRPr sz="1800" b="0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Body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98461" y="2760281"/>
            <a:ext cx="4320000" cy="324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1800" b="0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Body text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1169276" y="1563798"/>
            <a:ext cx="9720000" cy="720000"/>
          </a:xfrm>
          <a:prstGeom prst="rect">
            <a:avLst/>
          </a:prstGeom>
        </p:spPr>
        <p:txBody>
          <a:bodyPr lIns="0" tIns="0" rIns="0" bIns="0"/>
          <a:lstStyle>
            <a:lvl1pPr>
              <a:defRPr sz="3400" b="1" i="0">
                <a:solidFill>
                  <a:srgbClr val="EF9F3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800079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foodafactoflife.org.uk/" TargetMode="External"/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hyperlink" Target="http://www.foodafactoflife.org.uk/" TargetMode="Externa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hyperlink" Target="http://www.foodafactoflife.org.uk/" TargetMode="Externa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hyperlink" Target="http://www.foodafactoflife.org.uk/" TargetMode="Externa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2160862-40A4-418F-BA05-7364BC4F57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86662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2160862-40A4-418F-BA05-7364BC4F57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9453" y="358589"/>
            <a:ext cx="2044335" cy="1435165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56447" y="6539528"/>
            <a:ext cx="10721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8"/>
              </a:rPr>
              <a:t>www.foodafactoflife.org.uk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Food –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a fact of life 2022</a:t>
            </a:r>
          </a:p>
        </p:txBody>
      </p:sp>
    </p:spTree>
    <p:extLst>
      <p:ext uri="{BB962C8B-B14F-4D97-AF65-F5344CB8AC3E}">
        <p14:creationId xmlns:p14="http://schemas.microsoft.com/office/powerpoint/2010/main" val="1328885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2679DA3-4731-48D3-8E36-CB7A653629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27965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2679DA3-4731-48D3-8E36-CB7A65362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56447" y="6539528"/>
            <a:ext cx="10721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7"/>
              </a:rPr>
              <a:t>www.foodafactoflife.org.uk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 Food – a fact of life 2022</a:t>
            </a:r>
          </a:p>
          <a:p>
            <a:pPr algn="r"/>
            <a:endParaRPr lang="en-US" sz="900" b="0" i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317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4E8F17B-CE4B-4D2B-BFE0-BF7FFE1964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52132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4E8F17B-CE4B-4D2B-BFE0-BF7FFE1964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56447" y="6539528"/>
            <a:ext cx="10721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7"/>
              </a:rPr>
              <a:t>www.foodafactoflife.org.uk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 Food – a fact of life 2022</a:t>
            </a:r>
          </a:p>
        </p:txBody>
      </p:sp>
    </p:spTree>
    <p:extLst>
      <p:ext uri="{BB962C8B-B14F-4D97-AF65-F5344CB8AC3E}">
        <p14:creationId xmlns:p14="http://schemas.microsoft.com/office/powerpoint/2010/main" val="1822393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C646FD-9780-4F7E-B8BB-C7185B1667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68864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C646FD-9780-4F7E-B8BB-C7185B1667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79973"/>
            <a:ext cx="12192000" cy="685800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56447" y="6539528"/>
            <a:ext cx="10721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7"/>
              </a:rPr>
              <a:t>www.foodafactoflife.org.uk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 Food – a fact of life 2022</a:t>
            </a:r>
          </a:p>
        </p:txBody>
      </p:sp>
    </p:spTree>
    <p:extLst>
      <p:ext uri="{BB962C8B-B14F-4D97-AF65-F5344CB8AC3E}">
        <p14:creationId xmlns:p14="http://schemas.microsoft.com/office/powerpoint/2010/main" val="1788143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3.jpg"/><Relationship Id="rId4" Type="http://schemas.openxmlformats.org/officeDocument/2006/relationships/image" Target="../media/image22.jp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7.jpg"/><Relationship Id="rId4" Type="http://schemas.openxmlformats.org/officeDocument/2006/relationships/image" Target="../media/image26.jp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3.xml"/><Relationship Id="rId1" Type="http://schemas.openxmlformats.org/officeDocument/2006/relationships/video" Target="https://www.youtube.com/embed/40N7ANQ3S14?feature=oembed" TargetMode="External"/><Relationship Id="rId4" Type="http://schemas.openxmlformats.org/officeDocument/2006/relationships/image" Target="../media/image6.jp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6.jpg"/><Relationship Id="rId4" Type="http://schemas.openxmlformats.org/officeDocument/2006/relationships/image" Target="../media/image15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Layout" Target="../slideLayouts/slideLayout3.xml"/><Relationship Id="rId1" Type="http://schemas.openxmlformats.org/officeDocument/2006/relationships/video" Target="https://www.youtube.com/embed/40N7ANQ3S14?feature=oembed" TargetMode="External"/><Relationship Id="rId4" Type="http://schemas.openxmlformats.org/officeDocument/2006/relationships/image" Target="../media/image7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7.jpg"/><Relationship Id="rId4" Type="http://schemas.openxmlformats.org/officeDocument/2006/relationships/image" Target="../media/image26.jp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oodafactoflife.org.uk/media/6524/gelatinisation-lesson-plan-ws-1416.docx" TargetMode="External"/><Relationship Id="rId3" Type="http://schemas.openxmlformats.org/officeDocument/2006/relationships/hyperlink" Target="https://www.foodafactoflife.org.uk/media/1945/roux-sauce-information-i-1114c2.docx" TargetMode="External"/><Relationship Id="rId7" Type="http://schemas.openxmlformats.org/officeDocument/2006/relationships/hyperlink" Target="https://www.foodafactoflife.org.uk/media/7209/cheese-sauce-experiment-ws-1114c2.docx" TargetMode="External"/><Relationship Id="rId2" Type="http://schemas.openxmlformats.org/officeDocument/2006/relationships/hyperlink" Target="https://www.foodafactoflife.org.uk/media/5495/sauces-fact-sheet-fs-1416c.docx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foodafactoflife.org.uk/media/1301/viscosity-ws-1114fcc.docx" TargetMode="External"/><Relationship Id="rId5" Type="http://schemas.openxmlformats.org/officeDocument/2006/relationships/hyperlink" Target="https://www.foodafactoflife.org.uk/media/6509/understanding-sauces-1416fc.docx" TargetMode="External"/><Relationship Id="rId10" Type="http://schemas.openxmlformats.org/officeDocument/2006/relationships/hyperlink" Target="https://www.foodafactoflife.org.uk/media/5033/gelling-and-enzymes.docx" TargetMode="External"/><Relationship Id="rId4" Type="http://schemas.openxmlformats.org/officeDocument/2006/relationships/hyperlink" Target="https://www.foodafactoflife.org.uk/media/6511/what-is-a-roux-sauce-1416.docx" TargetMode="External"/><Relationship Id="rId9" Type="http://schemas.openxmlformats.org/officeDocument/2006/relationships/hyperlink" Target="https://www.foodafactoflife.org.uk/media/6502/investigating-gelatinisation-1416.docx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edu.rsc.org/resources/enzymes-and-jellies/815.article" TargetMode="External"/><Relationship Id="rId2" Type="http://schemas.openxmlformats.org/officeDocument/2006/relationships/hyperlink" Target="https://www.ifst.org/lovefoodlovescience/resources/carbohydrates-gelatinisation" TargetMode="Externa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oodafactoflife.org.uk/recipes/food-life-skills/fish-pie/" TargetMode="External"/><Relationship Id="rId3" Type="http://schemas.openxmlformats.org/officeDocument/2006/relationships/hyperlink" Target="https://www.foodafactoflife.org.uk/recipes/food-life-skills/fruit-jelly/" TargetMode="External"/><Relationship Id="rId7" Type="http://schemas.openxmlformats.org/officeDocument/2006/relationships/hyperlink" Target="https://www.foodafactoflife.org.uk/recipes/cook-club/chicken-pie/" TargetMode="External"/><Relationship Id="rId12" Type="http://schemas.openxmlformats.org/officeDocument/2006/relationships/hyperlink" Target="https://www.foodafactoflife.org.uk/recipes/breakfast/muesli-pancakes-with-summer-berry-compote/" TargetMode="External"/><Relationship Id="rId2" Type="http://schemas.openxmlformats.org/officeDocument/2006/relationships/hyperlink" Target="https://www.foodafactoflife.org.uk/recipes/meat/new-meat-recipes/raised-pork-pie/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foodafactoflife.org.uk/recipes/meat/new-meat-recipes/moussaka-stuffed-aubergine-topped-with-cheesy-souffle-sauce/" TargetMode="External"/><Relationship Id="rId11" Type="http://schemas.openxmlformats.org/officeDocument/2006/relationships/hyperlink" Target="https://www.foodafactoflife.org.uk/recipes/meat/50-min-lessons/pork-and-leek-risotto/" TargetMode="External"/><Relationship Id="rId5" Type="http://schemas.openxmlformats.org/officeDocument/2006/relationships/hyperlink" Target="https://www.foodafactoflife.org.uk/media/9719/savoury-filled-choux-3-recipe-complexity-ppd.docx" TargetMode="External"/><Relationship Id="rId10" Type="http://schemas.openxmlformats.org/officeDocument/2006/relationships/hyperlink" Target="https://www.foodafactoflife.org.uk/recipes/cook-club/pasta-fiorentina/" TargetMode="External"/><Relationship Id="rId4" Type="http://schemas.openxmlformats.org/officeDocument/2006/relationships/hyperlink" Target="https://www.foodafactoflife.org.uk/recipes/cook-club/white-sauce/" TargetMode="External"/><Relationship Id="rId9" Type="http://schemas.openxmlformats.org/officeDocument/2006/relationships/hyperlink" Target="https://www.foodafactoflife.org.uk/recipes/food-life-skills/fruit-pancakes/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hyperlink" Target="http://www.foodafactoflife.org.uk/" TargetMode="External"/><Relationship Id="rId5" Type="http://schemas.openxmlformats.org/officeDocument/2006/relationships/hyperlink" Target="https://www.foodafactoflife.org.uk/whole-school/whole-school-approach/guidelines-for-school-education-resources-about-food/" TargetMode="Externa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6.jpg"/><Relationship Id="rId4" Type="http://schemas.openxmlformats.org/officeDocument/2006/relationships/image" Target="../media/image15.jp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.jp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CBAB5C4-5602-473B-9D95-400B1B769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992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CBAB5C4-5602-473B-9D95-400B1B7699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Gelation </a:t>
            </a:r>
            <a:r>
              <a:rPr lang="en-GB"/>
              <a:t>and gelatinisation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9551663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0B3AA4F-3E5C-0D2A-523F-874DB9CB0E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9073" y="3475206"/>
            <a:ext cx="3058194" cy="305819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0656FD1-4489-F55F-822B-620888FD55A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Foods made by gelatinisation</a:t>
            </a:r>
          </a:p>
        </p:txBody>
      </p:sp>
      <p:pic>
        <p:nvPicPr>
          <p:cNvPr id="4" name="Picture 3" descr="A picture containing tableware, gravy boat, indoor, dishware&#10;&#10;Description automatically generated">
            <a:extLst>
              <a:ext uri="{FF2B5EF4-FFF2-40B4-BE49-F238E27FC236}">
                <a16:creationId xmlns:a16="http://schemas.microsoft.com/office/drawing/2014/main" id="{0A8DEEDD-757A-C4C4-4DEF-60A71E132D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713" y="2172064"/>
            <a:ext cx="3048000" cy="2231136"/>
          </a:xfrm>
          <a:prstGeom prst="rect">
            <a:avLst/>
          </a:prstGeom>
        </p:spPr>
      </p:pic>
      <p:pic>
        <p:nvPicPr>
          <p:cNvPr id="11" name="Picture 10" descr="A plate of food&#10;&#10;Description automatically generated with medium confidence">
            <a:extLst>
              <a:ext uri="{FF2B5EF4-FFF2-40B4-BE49-F238E27FC236}">
                <a16:creationId xmlns:a16="http://schemas.microsoft.com/office/drawing/2014/main" id="{BFDBF21E-2E31-F680-DAE9-2C1325D144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93325" y="2085292"/>
            <a:ext cx="3509811" cy="2144495"/>
          </a:xfrm>
          <a:prstGeom prst="rect">
            <a:avLst/>
          </a:prstGeom>
        </p:spPr>
      </p:pic>
      <p:pic>
        <p:nvPicPr>
          <p:cNvPr id="14" name="Picture 13" descr="A stack of pancakes&#10;&#10;Description automatically generated with medium confidence">
            <a:extLst>
              <a:ext uri="{FF2B5EF4-FFF2-40B4-BE49-F238E27FC236}">
                <a16:creationId xmlns:a16="http://schemas.microsoft.com/office/drawing/2014/main" id="{FFB8B805-40CF-9055-AA30-E9D3EC7CA7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14627" y="4052236"/>
            <a:ext cx="3058194" cy="20489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71C656F-D4FA-D3DC-7596-FDB3668E2819}"/>
              </a:ext>
            </a:extLst>
          </p:cNvPr>
          <p:cNvSpPr txBox="1"/>
          <p:nvPr/>
        </p:nvSpPr>
        <p:spPr>
          <a:xfrm>
            <a:off x="2772584" y="3158601"/>
            <a:ext cx="28087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White sauce and other roux-based sauc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CFFBC8B-3805-E2C5-00A8-550E63CD2FC0}"/>
              </a:ext>
            </a:extLst>
          </p:cNvPr>
          <p:cNvSpPr txBox="1"/>
          <p:nvPr/>
        </p:nvSpPr>
        <p:spPr>
          <a:xfrm>
            <a:off x="9007945" y="3143444"/>
            <a:ext cx="28087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Risotto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B704F52-6F44-3AF5-E985-B738D17E964A}"/>
              </a:ext>
            </a:extLst>
          </p:cNvPr>
          <p:cNvSpPr txBox="1"/>
          <p:nvPr/>
        </p:nvSpPr>
        <p:spPr>
          <a:xfrm>
            <a:off x="1368198" y="4894092"/>
            <a:ext cx="28087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Cooked past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CDE6EBB-0963-77CA-8971-774077DAD149}"/>
              </a:ext>
            </a:extLst>
          </p:cNvPr>
          <p:cNvSpPr txBox="1"/>
          <p:nvPr/>
        </p:nvSpPr>
        <p:spPr>
          <a:xfrm>
            <a:off x="6744330" y="5111937"/>
            <a:ext cx="28087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Pancakes</a:t>
            </a:r>
          </a:p>
        </p:txBody>
      </p:sp>
    </p:spTree>
    <p:extLst>
      <p:ext uri="{BB962C8B-B14F-4D97-AF65-F5344CB8AC3E}">
        <p14:creationId xmlns:p14="http://schemas.microsoft.com/office/powerpoint/2010/main" val="3119186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656FD1-4489-F55F-822B-620888FD55A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Gelatinisation in foo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28E501-5A4E-D1A3-A7D8-65D153A748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6689132" cy="3600000"/>
          </a:xfrm>
        </p:spPr>
        <p:txBody>
          <a:bodyPr/>
          <a:lstStyle/>
          <a:p>
            <a:r>
              <a:rPr lang="en-GB" dirty="0"/>
              <a:t>White sauce is a roux-based sauce. A mixture of flour and butter helps to thicken the sauce as milk is added.</a:t>
            </a:r>
          </a:p>
          <a:p>
            <a:r>
              <a:rPr lang="en-GB" dirty="0"/>
              <a:t>Pasta softens when heated in water, as the starch absorbs water and expands.</a:t>
            </a:r>
          </a:p>
          <a:p>
            <a:r>
              <a:rPr lang="en-GB" dirty="0"/>
              <a:t>Risotto gets it’s thick and smooth texture from gelatinisation, as starch seeps out from the rice, into the liquid that is added during cooking.</a:t>
            </a:r>
          </a:p>
          <a:p>
            <a:r>
              <a:rPr lang="en-GB" dirty="0"/>
              <a:t>When heated in a frying pan, the starch granules in  pancake mixture (from flour) absorb moisture and swell up.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37F21B2D-0E3B-42DC-85A8-4511EB39D461}"/>
              </a:ext>
            </a:extLst>
          </p:cNvPr>
          <p:cNvSpPr txBox="1">
            <a:spLocks/>
          </p:cNvSpPr>
          <p:nvPr/>
        </p:nvSpPr>
        <p:spPr>
          <a:xfrm>
            <a:off x="1169277" y="2571092"/>
            <a:ext cx="5847160" cy="3600000"/>
          </a:xfrm>
          <a:prstGeom prst="rect">
            <a:avLst/>
          </a:prstGeom>
        </p:spPr>
        <p:txBody>
          <a:bodyPr lIns="0" tIns="0" rIns="0" bIns="0" numCol="1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90000"/>
              <a:buFont typeface="Arial" charset="0"/>
              <a:buChar char="•"/>
              <a:defRPr sz="2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</p:txBody>
      </p:sp>
      <p:pic>
        <p:nvPicPr>
          <p:cNvPr id="4" name="Picture 3" descr="A plate of food&#10;&#10;Description automatically generated with medium confidence">
            <a:extLst>
              <a:ext uri="{FF2B5EF4-FFF2-40B4-BE49-F238E27FC236}">
                <a16:creationId xmlns:a16="http://schemas.microsoft.com/office/drawing/2014/main" id="{29AEB25A-0927-8C6A-D7A0-C08C767848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14335" y="2914234"/>
            <a:ext cx="3509811" cy="2144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2417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656FD1-4489-F55F-822B-620888FD55A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e science of gelatinisation - roux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28E501-5A4E-D1A3-A7D8-65D153A748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6545419" cy="3600000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Many sauces use a roux as the base. A roux is a paste made from butter and flour. This helps the sauce to thicken.</a:t>
            </a:r>
          </a:p>
          <a:p>
            <a:pPr marL="0" indent="0">
              <a:buNone/>
            </a:pPr>
            <a:r>
              <a:rPr lang="en-GB" dirty="0"/>
              <a:t>For example, when making white sauce, a roux is formed first before milk (infused with other flavours) is slowly added.</a:t>
            </a:r>
          </a:p>
          <a:p>
            <a:pPr marL="0" indent="0">
              <a:buNone/>
            </a:pPr>
            <a:r>
              <a:rPr lang="en-GB" dirty="0"/>
              <a:t>This not only thickens the sauce, but gives is a smooth mouthfeel when it is eaten.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37F21B2D-0E3B-42DC-85A8-4511EB39D461}"/>
              </a:ext>
            </a:extLst>
          </p:cNvPr>
          <p:cNvSpPr txBox="1">
            <a:spLocks/>
          </p:cNvSpPr>
          <p:nvPr/>
        </p:nvSpPr>
        <p:spPr>
          <a:xfrm>
            <a:off x="1169277" y="2571092"/>
            <a:ext cx="5847160" cy="3600000"/>
          </a:xfrm>
          <a:prstGeom prst="rect">
            <a:avLst/>
          </a:prstGeom>
        </p:spPr>
        <p:txBody>
          <a:bodyPr lIns="0" tIns="0" rIns="0" bIns="0" numCol="1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90000"/>
              <a:buFont typeface="Arial" charset="0"/>
              <a:buChar char="•"/>
              <a:defRPr sz="2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</p:txBody>
      </p:sp>
      <p:pic>
        <p:nvPicPr>
          <p:cNvPr id="5" name="Picture 4" descr="A close-up of some food&#10;&#10;Description automatically generated with medium confidence">
            <a:extLst>
              <a:ext uri="{FF2B5EF4-FFF2-40B4-BE49-F238E27FC236}">
                <a16:creationId xmlns:a16="http://schemas.microsoft.com/office/drawing/2014/main" id="{CDB6D2A0-71F9-3447-151C-7C603A69C0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24914" y="2932474"/>
            <a:ext cx="3318665" cy="2213549"/>
          </a:xfrm>
          <a:prstGeom prst="rect">
            <a:avLst/>
          </a:prstGeom>
          <a:ln w="38100">
            <a:solidFill>
              <a:srgbClr val="EF9F3F"/>
            </a:solidFill>
          </a:ln>
        </p:spPr>
      </p:pic>
    </p:spTree>
    <p:extLst>
      <p:ext uri="{BB962C8B-B14F-4D97-AF65-F5344CB8AC3E}">
        <p14:creationId xmlns:p14="http://schemas.microsoft.com/office/powerpoint/2010/main" val="35168201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56DC22-08AB-0D91-7AB6-8D24F66397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Applying the science – white sauce</a:t>
            </a:r>
            <a:endParaRPr lang="en-US" dirty="0"/>
          </a:p>
        </p:txBody>
      </p:sp>
      <p:pic>
        <p:nvPicPr>
          <p:cNvPr id="3" name="Picture 2" descr="A close-up of some food&#10;&#10;Description automatically generated with medium confidence">
            <a:extLst>
              <a:ext uri="{FF2B5EF4-FFF2-40B4-BE49-F238E27FC236}">
                <a16:creationId xmlns:a16="http://schemas.microsoft.com/office/drawing/2014/main" id="{A5E6D1B2-7B65-C3A2-4B00-CBF31B922D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9341" y="2620262"/>
            <a:ext cx="2617149" cy="1745638"/>
          </a:xfrm>
          <a:prstGeom prst="rect">
            <a:avLst/>
          </a:prstGeom>
          <a:ln w="38100">
            <a:noFill/>
          </a:ln>
        </p:spPr>
      </p:pic>
      <p:pic>
        <p:nvPicPr>
          <p:cNvPr id="5" name="Picture 4" descr="A picture containing person, bowl, food, pan&#10;&#10;Description automatically generated">
            <a:extLst>
              <a:ext uri="{FF2B5EF4-FFF2-40B4-BE49-F238E27FC236}">
                <a16:creationId xmlns:a16="http://schemas.microsoft.com/office/drawing/2014/main" id="{464E80ED-CAA9-76E5-95C7-5E78D86627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494" t="6369" r="15238" b="12854"/>
          <a:stretch/>
        </p:blipFill>
        <p:spPr>
          <a:xfrm>
            <a:off x="387720" y="2620263"/>
            <a:ext cx="2503458" cy="1745637"/>
          </a:xfrm>
          <a:prstGeom prst="rect">
            <a:avLst/>
          </a:prstGeom>
        </p:spPr>
      </p:pic>
      <p:pic>
        <p:nvPicPr>
          <p:cNvPr id="7" name="Picture 6" descr="A fork in a pot of food&#10;&#10;Description automatically generated with medium confidence">
            <a:extLst>
              <a:ext uri="{FF2B5EF4-FFF2-40B4-BE49-F238E27FC236}">
                <a16:creationId xmlns:a16="http://schemas.microsoft.com/office/drawing/2014/main" id="{3C030315-623F-5D32-BFE6-DC71482F9E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4653" y="2620261"/>
            <a:ext cx="2652948" cy="1745640"/>
          </a:xfrm>
          <a:prstGeom prst="rect">
            <a:avLst/>
          </a:prstGeom>
        </p:spPr>
      </p:pic>
      <p:pic>
        <p:nvPicPr>
          <p:cNvPr id="9" name="Picture 8" descr="A picture containing indoor, food&#10;&#10;Description automatically generated">
            <a:extLst>
              <a:ext uri="{FF2B5EF4-FFF2-40B4-BE49-F238E27FC236}">
                <a16:creationId xmlns:a16="http://schemas.microsoft.com/office/drawing/2014/main" id="{4B7FFB2F-004A-C78D-DDEC-CA7CB91F90C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7171" t="15181"/>
          <a:stretch/>
        </p:blipFill>
        <p:spPr>
          <a:xfrm>
            <a:off x="9205765" y="2620261"/>
            <a:ext cx="2555787" cy="174564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B313506-983B-B319-B24C-24701C1FC030}"/>
              </a:ext>
            </a:extLst>
          </p:cNvPr>
          <p:cNvSpPr txBox="1"/>
          <p:nvPr/>
        </p:nvSpPr>
        <p:spPr>
          <a:xfrm>
            <a:off x="280546" y="5109536"/>
            <a:ext cx="27180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Melt butter in a pa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64644A6-A9D7-45A9-3363-6C3856EEB38B}"/>
              </a:ext>
            </a:extLst>
          </p:cNvPr>
          <p:cNvSpPr txBox="1"/>
          <p:nvPr/>
        </p:nvSpPr>
        <p:spPr>
          <a:xfrm>
            <a:off x="3207221" y="4832537"/>
            <a:ext cx="271807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dd equal amounts flour to the pan and stir to combin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5C2986E-5820-1C37-17C8-334CEB18C9BE}"/>
              </a:ext>
            </a:extLst>
          </p:cNvPr>
          <p:cNvSpPr txBox="1"/>
          <p:nvPr/>
        </p:nvSpPr>
        <p:spPr>
          <a:xfrm>
            <a:off x="6133896" y="4694038"/>
            <a:ext cx="271807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Mix or whisk together and allow to cook for at least 3 to 5 minutes to allow the starch to absorb the liqui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4091E2-8DDD-A9C3-B769-B558A16193F0}"/>
              </a:ext>
            </a:extLst>
          </p:cNvPr>
          <p:cNvSpPr txBox="1"/>
          <p:nvPr/>
        </p:nvSpPr>
        <p:spPr>
          <a:xfrm>
            <a:off x="9060571" y="4832537"/>
            <a:ext cx="271807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Slowly add milk a little at a time, until a smooth sauce is formed</a:t>
            </a:r>
          </a:p>
        </p:txBody>
      </p:sp>
    </p:spTree>
    <p:extLst>
      <p:ext uri="{BB962C8B-B14F-4D97-AF65-F5344CB8AC3E}">
        <p14:creationId xmlns:p14="http://schemas.microsoft.com/office/powerpoint/2010/main" val="20487333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E4CF2D-5446-4052-C13D-0EF8C717538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>
                <a:latin typeface="Arial"/>
                <a:cs typeface="Arial"/>
              </a:rPr>
              <a:t>Key words </a:t>
            </a:r>
            <a:endParaRPr lang="en-GB" dirty="0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852C40F4-3A0C-2C57-5C1A-53EF072895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535239"/>
              </p:ext>
            </p:extLst>
          </p:nvPr>
        </p:nvGraphicFramePr>
        <p:xfrm>
          <a:off x="1192530" y="2560701"/>
          <a:ext cx="9930774" cy="3441174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664209">
                  <a:extLst>
                    <a:ext uri="{9D8B030D-6E8A-4147-A177-3AD203B41FA5}">
                      <a16:colId xmlns:a16="http://schemas.microsoft.com/office/drawing/2014/main" val="2283084407"/>
                    </a:ext>
                  </a:extLst>
                </a:gridCol>
                <a:gridCol w="7266565">
                  <a:extLst>
                    <a:ext uri="{9D8B030D-6E8A-4147-A177-3AD203B41FA5}">
                      <a16:colId xmlns:a16="http://schemas.microsoft.com/office/drawing/2014/main" val="58838503"/>
                    </a:ext>
                  </a:extLst>
                </a:gridCol>
              </a:tblGrid>
              <a:tr h="456178"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/>
                        </a:rPr>
                        <a:t>Key wo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/>
                        </a:rPr>
                        <a:t>Mean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5827214"/>
                  </a:ext>
                </a:extLst>
              </a:tr>
              <a:tr h="45617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latin typeface="Arial"/>
                        </a:rPr>
                        <a:t>Blooming (</a:t>
                      </a:r>
                      <a:r>
                        <a:rPr lang="en-US" sz="2000" b="1" dirty="0" err="1">
                          <a:latin typeface="Arial"/>
                        </a:rPr>
                        <a:t>gelatine</a:t>
                      </a:r>
                      <a:r>
                        <a:rPr lang="en-US" sz="2000" b="1" dirty="0">
                          <a:latin typeface="Arial"/>
                        </a:rPr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rial"/>
                        </a:rPr>
                        <a:t>Soaking gelatine in water in order to allow the gelatine granules to absorb water and expand, helping them to dissolve and form a smooth gel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1660007"/>
                  </a:ext>
                </a:extLst>
              </a:tr>
              <a:tr h="45617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b="1" dirty="0">
                          <a:latin typeface="Arial"/>
                        </a:rPr>
                        <a:t>G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rial"/>
                        </a:rPr>
                        <a:t>A colloid which has a liquid dispersed in a solid, e.g., jelly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3495877"/>
                  </a:ext>
                </a:extLst>
              </a:tr>
              <a:tr h="45617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err="1">
                          <a:latin typeface="Arial"/>
                        </a:rPr>
                        <a:t>Gelatine</a:t>
                      </a:r>
                      <a:endParaRPr lang="en-US" sz="2000" b="1" dirty="0">
                        <a:latin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dirty="0">
                          <a:latin typeface="Arial"/>
                        </a:rPr>
                        <a:t>A protein formed form the hydrolysis of collagen*. It has the capacity to hold water molecules in a gel matrix. Used to set sweet and savoury jellies.</a:t>
                      </a:r>
                      <a:endParaRPr lang="en-US" sz="1400" dirty="0">
                        <a:latin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9700787"/>
                  </a:ext>
                </a:extLst>
              </a:tr>
              <a:tr h="45617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latin typeface="Arial"/>
                        </a:rPr>
                        <a:t>Gelatin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dirty="0">
                          <a:latin typeface="Arial"/>
                        </a:rPr>
                        <a:t>The process of thickening which takes place when a mixture of starch in liquid is heated, e.g., when making a roux sauce.</a:t>
                      </a:r>
                      <a:endParaRPr lang="en-US" sz="1400" dirty="0">
                        <a:latin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214110"/>
                  </a:ext>
                </a:extLst>
              </a:tr>
              <a:tr h="45617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b="1" dirty="0">
                          <a:latin typeface="Arial"/>
                        </a:rPr>
                        <a:t>Gel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>
                          <a:latin typeface="Arial"/>
                        </a:rPr>
                        <a:t>A semi-solid mixture of a solid and a liquid, where the liquid is trapped by a solid network (e.g. jelly)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8663554"/>
                  </a:ext>
                </a:extLst>
              </a:tr>
              <a:tr h="45617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latin typeface="Arial"/>
                        </a:rPr>
                        <a:t>Rou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/>
                        </a:rPr>
                        <a:t>A mixture of flour and fat mixed together, used to thicken sauces (e.g. white sauce)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8793018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8BFC13AA-038A-727F-E0C0-5CF3A7F6DDA0}"/>
              </a:ext>
            </a:extLst>
          </p:cNvPr>
          <p:cNvSpPr txBox="1"/>
          <p:nvPr/>
        </p:nvSpPr>
        <p:spPr>
          <a:xfrm>
            <a:off x="1169274" y="6327452"/>
            <a:ext cx="65181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*Hydrolysis is a chemical reaction in which water breaks chemical bonds</a:t>
            </a:r>
          </a:p>
        </p:txBody>
      </p:sp>
    </p:spTree>
    <p:extLst>
      <p:ext uri="{BB962C8B-B14F-4D97-AF65-F5344CB8AC3E}">
        <p14:creationId xmlns:p14="http://schemas.microsoft.com/office/powerpoint/2010/main" val="35941710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7EBE14-55C0-C423-6860-80CFB347D3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eachers’ guide</a:t>
            </a:r>
          </a:p>
        </p:txBody>
      </p:sp>
    </p:spTree>
    <p:extLst>
      <p:ext uri="{BB962C8B-B14F-4D97-AF65-F5344CB8AC3E}">
        <p14:creationId xmlns:p14="http://schemas.microsoft.com/office/powerpoint/2010/main" val="4824969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B040530-858F-4412-BE1A-FA5CC63D27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8316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B040530-858F-4412-BE1A-FA5CC63D27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>
                <a:latin typeface="Arial"/>
                <a:cs typeface="Arial"/>
              </a:rPr>
              <a:t>Teaching about gelation and </a:t>
            </a:r>
            <a:r>
              <a:rPr lang="en-US" dirty="0" err="1">
                <a:latin typeface="Arial"/>
                <a:cs typeface="Arial"/>
              </a:rPr>
              <a:t>gelatinisation</a:t>
            </a:r>
            <a:r>
              <a:rPr lang="en-US" dirty="0">
                <a:latin typeface="Arial"/>
                <a:cs typeface="Arial"/>
              </a:rPr>
              <a:t>:</a:t>
            </a:r>
            <a:br>
              <a:rPr lang="en-US" dirty="0">
                <a:latin typeface="Arial"/>
                <a:cs typeface="Arial"/>
              </a:rPr>
            </a:b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10253400" cy="3600000"/>
          </a:xfrm>
        </p:spPr>
        <p:txBody>
          <a:bodyPr/>
          <a:lstStyle/>
          <a:p>
            <a:pPr marL="0" lvl="0" indent="0">
              <a:buNone/>
            </a:pPr>
            <a:endParaRPr lang="en-GB" dirty="0"/>
          </a:p>
          <a:p>
            <a:pPr lvl="0"/>
            <a:endParaRPr lang="en-GB" dirty="0"/>
          </a:p>
          <a:p>
            <a:pPr lvl="0"/>
            <a:endParaRPr lang="en-GB" dirty="0"/>
          </a:p>
          <a:p>
            <a:pPr lvl="0"/>
            <a:endParaRPr lang="en-GB" dirty="0"/>
          </a:p>
          <a:p>
            <a:pPr lvl="0"/>
            <a:endParaRPr lang="en-GB" dirty="0"/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705A842-B67A-1091-B43C-016955CEB56E}"/>
              </a:ext>
            </a:extLst>
          </p:cNvPr>
          <p:cNvSpPr>
            <a:spLocks noGrp="1"/>
          </p:cNvSpPr>
          <p:nvPr/>
        </p:nvSpPr>
        <p:spPr>
          <a:xfrm>
            <a:off x="1169276" y="2571092"/>
            <a:ext cx="10253400" cy="3600000"/>
          </a:xfrm>
          <a:prstGeom prst="rect">
            <a:avLst/>
          </a:prstGeom>
        </p:spPr>
        <p:txBody>
          <a:bodyPr lIns="0" tIns="0" rIns="0" bIns="0" numCol="1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90000"/>
              <a:buFont typeface="Arial" charset="0"/>
              <a:buChar char="•"/>
              <a:defRPr sz="2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latin typeface="Arial"/>
                <a:cs typeface="Arial"/>
              </a:rPr>
              <a:t>Pupils need to understand the mechanisms behind gelation and gelatinisation.</a:t>
            </a:r>
          </a:p>
          <a:p>
            <a:r>
              <a:rPr lang="en-GB" dirty="0">
                <a:latin typeface="Arial"/>
                <a:cs typeface="Arial"/>
              </a:rPr>
              <a:t>They should be aware of the different mechanisms and definitions. Gelation is the trapping of liquid between cross-linked polymers. Gelatinisation is the expansion of starch granules, causing softening and the thickening of sauces.</a:t>
            </a:r>
          </a:p>
          <a:p>
            <a:r>
              <a:rPr lang="en-GB" dirty="0"/>
              <a:t>Pupils should understand how gelation and gelatinisation relate to different foods. Jellies are a good example of gelation, whilst roux-based sauces are good examples of gelatinisation.</a:t>
            </a:r>
          </a:p>
          <a:p>
            <a:endParaRPr lang="en-GB" dirty="0"/>
          </a:p>
          <a:p>
            <a:pPr marL="62865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0" lvl="0" indent="0">
              <a:buNone/>
            </a:pPr>
            <a:endParaRPr lang="en-GB" dirty="0"/>
          </a:p>
          <a:p>
            <a:pPr lvl="0"/>
            <a:endParaRPr lang="en-GB" dirty="0"/>
          </a:p>
          <a:p>
            <a:pPr lvl="0"/>
            <a:endParaRPr lang="en-GB" dirty="0"/>
          </a:p>
          <a:p>
            <a:pPr marL="0" indent="0">
              <a:buNone/>
            </a:pP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39732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56DC22-08AB-0D91-7AB6-8D24F66397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Introduction - gelation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8F7FAB-511F-7730-95EA-CDCD608276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7" y="2571092"/>
            <a:ext cx="6598850" cy="3600000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GB" dirty="0"/>
              <a:t>A gel is formed when a liquid is trapped in a solid matrix. Jelly is a classic example. It is made up of mostly liquid, but because the liquid is trapped it cannot flow freely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GB" dirty="0"/>
              <a:t>Proteins are important components of many gels. A commonly used protein used to form gels is gelatine.</a:t>
            </a:r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</p:txBody>
      </p:sp>
      <p:pic>
        <p:nvPicPr>
          <p:cNvPr id="4" name="Online Media 3" title="Jelly and Spoon">
            <a:hlinkClick r:id="" action="ppaction://media"/>
            <a:extLst>
              <a:ext uri="{FF2B5EF4-FFF2-40B4-BE49-F238E27FC236}">
                <a16:creationId xmlns:a16="http://schemas.microsoft.com/office/drawing/2014/main" id="{33E89CB3-99B0-D354-F193-D2399B75559D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2311688" y="4371092"/>
            <a:ext cx="3784312" cy="2138136"/>
          </a:xfrm>
          <a:prstGeom prst="rect">
            <a:avLst/>
          </a:prstGeom>
        </p:spPr>
      </p:pic>
      <p:pic>
        <p:nvPicPr>
          <p:cNvPr id="5" name="Picture 4" descr="Chart, scatter chart&#10;&#10;Description automatically generated">
            <a:extLst>
              <a:ext uri="{FF2B5EF4-FFF2-40B4-BE49-F238E27FC236}">
                <a16:creationId xmlns:a16="http://schemas.microsoft.com/office/drawing/2014/main" id="{6EA2670F-B944-7888-570A-84EB4B1399E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853" t="21031" r="3880" b="18075"/>
          <a:stretch/>
        </p:blipFill>
        <p:spPr>
          <a:xfrm>
            <a:off x="7676725" y="3099740"/>
            <a:ext cx="4234968" cy="2136778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B2CA280E-DC0A-8F8A-A4BF-39ED16C07BF4}"/>
              </a:ext>
            </a:extLst>
          </p:cNvPr>
          <p:cNvSpPr/>
          <p:nvPr/>
        </p:nvSpPr>
        <p:spPr>
          <a:xfrm>
            <a:off x="9196773" y="4178513"/>
            <a:ext cx="471340" cy="282804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10CA8F5-1938-2883-668C-F0DB5848B014}"/>
              </a:ext>
            </a:extLst>
          </p:cNvPr>
          <p:cNvCxnSpPr>
            <a:cxnSpLocks/>
          </p:cNvCxnSpPr>
          <p:nvPr/>
        </p:nvCxnSpPr>
        <p:spPr>
          <a:xfrm>
            <a:off x="9752021" y="2946113"/>
            <a:ext cx="633742" cy="921129"/>
          </a:xfrm>
          <a:prstGeom prst="straightConnector1">
            <a:avLst/>
          </a:prstGeom>
          <a:ln>
            <a:solidFill>
              <a:srgbClr val="EF9F3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FB4978F8-AB03-3086-C78C-327D843C1E1B}"/>
              </a:ext>
            </a:extLst>
          </p:cNvPr>
          <p:cNvSpPr txBox="1"/>
          <p:nvPr/>
        </p:nvSpPr>
        <p:spPr>
          <a:xfrm>
            <a:off x="8407744" y="2566540"/>
            <a:ext cx="18273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Liquid trapped here, forming a gel</a:t>
            </a:r>
          </a:p>
        </p:txBody>
      </p:sp>
    </p:spTree>
    <p:extLst>
      <p:ext uri="{BB962C8B-B14F-4D97-AF65-F5344CB8AC3E}">
        <p14:creationId xmlns:p14="http://schemas.microsoft.com/office/powerpoint/2010/main" val="1867798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56DC22-08AB-0D91-7AB6-8D24F66397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>
                <a:latin typeface="Arial"/>
                <a:cs typeface="Arial"/>
              </a:rPr>
              <a:t>Gelatin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8F7FAB-511F-7730-95EA-CDCD608276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6188653" cy="3600000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GB" dirty="0"/>
              <a:t>When gelatine is mixed with water and warmed, the proteins become denatured and unwind.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GB" dirty="0"/>
              <a:t>As the mixture is cooled, these proteins bind together and form a network around the liquid, resulting in a gel that is technically a liquid, but that has many properties of a solid.</a:t>
            </a: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</p:txBody>
      </p:sp>
      <p:pic>
        <p:nvPicPr>
          <p:cNvPr id="5" name="Picture 4" descr="A picture containing person, yellow&#10;&#10;Description automatically generated">
            <a:extLst>
              <a:ext uri="{FF2B5EF4-FFF2-40B4-BE49-F238E27FC236}">
                <a16:creationId xmlns:a16="http://schemas.microsoft.com/office/drawing/2014/main" id="{0F73BB63-BC0D-C68F-2FE4-D789312090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04469" y="2956206"/>
            <a:ext cx="3376943" cy="2252421"/>
          </a:xfrm>
          <a:prstGeom prst="rect">
            <a:avLst/>
          </a:prstGeom>
          <a:ln w="38100">
            <a:solidFill>
              <a:srgbClr val="EF9F3F"/>
            </a:solidFill>
          </a:ln>
        </p:spPr>
      </p:pic>
    </p:spTree>
    <p:extLst>
      <p:ext uri="{BB962C8B-B14F-4D97-AF65-F5344CB8AC3E}">
        <p14:creationId xmlns:p14="http://schemas.microsoft.com/office/powerpoint/2010/main" val="18435011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56DC22-08AB-0D91-7AB6-8D24F66397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Applying the science - </a:t>
            </a:r>
            <a:r>
              <a:rPr lang="en-US" dirty="0" err="1">
                <a:latin typeface="Arial"/>
                <a:cs typeface="Arial"/>
              </a:rPr>
              <a:t>gelatine</a:t>
            </a:r>
            <a:endParaRPr lang="en-US" dirty="0"/>
          </a:p>
        </p:txBody>
      </p:sp>
      <p:pic>
        <p:nvPicPr>
          <p:cNvPr id="8" name="Picture 7" descr="A picture containing cloth, beverage&#10;&#10;Description automatically generated">
            <a:extLst>
              <a:ext uri="{FF2B5EF4-FFF2-40B4-BE49-F238E27FC236}">
                <a16:creationId xmlns:a16="http://schemas.microsoft.com/office/drawing/2014/main" id="{B06C7D99-9346-4D14-69D5-17B55E5834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0219" y="2522523"/>
            <a:ext cx="2718073" cy="1812954"/>
          </a:xfrm>
          <a:prstGeom prst="rect">
            <a:avLst/>
          </a:prstGeom>
        </p:spPr>
      </p:pic>
      <p:pic>
        <p:nvPicPr>
          <p:cNvPr id="10" name="Picture 9" descr="A picture containing person, indoor, metal, spoon&#10;&#10;Description automatically generated">
            <a:extLst>
              <a:ext uri="{FF2B5EF4-FFF2-40B4-BE49-F238E27FC236}">
                <a16:creationId xmlns:a16="http://schemas.microsoft.com/office/drawing/2014/main" id="{2FD0C988-BF18-B009-141C-2050EDAC63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282" y="2522522"/>
            <a:ext cx="2718073" cy="1812955"/>
          </a:xfrm>
          <a:prstGeom prst="rect">
            <a:avLst/>
          </a:prstGeom>
        </p:spPr>
      </p:pic>
      <p:pic>
        <p:nvPicPr>
          <p:cNvPr id="12" name="Picture 11" descr="A picture containing food, butter&#10;&#10;Description automatically generated">
            <a:extLst>
              <a:ext uri="{FF2B5EF4-FFF2-40B4-BE49-F238E27FC236}">
                <a16:creationId xmlns:a16="http://schemas.microsoft.com/office/drawing/2014/main" id="{207BD1F9-BAFB-6DF4-E9BC-D1A41B7E3F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84647" y="2522522"/>
            <a:ext cx="2718074" cy="1812955"/>
          </a:xfrm>
          <a:prstGeom prst="rect">
            <a:avLst/>
          </a:prstGeom>
        </p:spPr>
      </p:pic>
      <p:pic>
        <p:nvPicPr>
          <p:cNvPr id="14" name="Picture 13" descr="A picture containing cup, indoor, kitchenware, pan&#10;&#10;Description automatically generated">
            <a:extLst>
              <a:ext uri="{FF2B5EF4-FFF2-40B4-BE49-F238E27FC236}">
                <a16:creationId xmlns:a16="http://schemas.microsoft.com/office/drawing/2014/main" id="{396BAB8F-73DF-87FD-2B37-BE9425804D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31156" y="2522522"/>
            <a:ext cx="2500628" cy="18129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038C834-0F0E-A664-BE21-5AF37C4A84C1}"/>
              </a:ext>
            </a:extLst>
          </p:cNvPr>
          <p:cNvSpPr txBox="1"/>
          <p:nvPr/>
        </p:nvSpPr>
        <p:spPr>
          <a:xfrm>
            <a:off x="389282" y="4813049"/>
            <a:ext cx="271807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dd gelatine (powder or sheets) to water and allow to bloo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3D9C6F7-BC1E-ADCD-82FE-FDEA8A799EFA}"/>
              </a:ext>
            </a:extLst>
          </p:cNvPr>
          <p:cNvSpPr txBox="1"/>
          <p:nvPr/>
        </p:nvSpPr>
        <p:spPr>
          <a:xfrm>
            <a:off x="3315957" y="4674550"/>
            <a:ext cx="271807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When bloomed, the gelatine granules will expand as they absorb liqui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03D906B-B082-202C-4499-9A4A546295FC}"/>
              </a:ext>
            </a:extLst>
          </p:cNvPr>
          <p:cNvSpPr txBox="1"/>
          <p:nvPr/>
        </p:nvSpPr>
        <p:spPr>
          <a:xfrm>
            <a:off x="6242632" y="4951549"/>
            <a:ext cx="27180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dd gelatine to hot water to fully dissolv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832AD89-7D81-9E6E-036E-CBAB9D073748}"/>
              </a:ext>
            </a:extLst>
          </p:cNvPr>
          <p:cNvSpPr txBox="1"/>
          <p:nvPr/>
        </p:nvSpPr>
        <p:spPr>
          <a:xfrm>
            <a:off x="9169308" y="5090048"/>
            <a:ext cx="27180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Cool to form a gel</a:t>
            </a:r>
          </a:p>
        </p:txBody>
      </p:sp>
    </p:spTree>
    <p:extLst>
      <p:ext uri="{BB962C8B-B14F-4D97-AF65-F5344CB8AC3E}">
        <p14:creationId xmlns:p14="http://schemas.microsoft.com/office/powerpoint/2010/main" val="11148980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hart, scatter chart&#10;&#10;Description automatically generated">
            <a:extLst>
              <a:ext uri="{FF2B5EF4-FFF2-40B4-BE49-F238E27FC236}">
                <a16:creationId xmlns:a16="http://schemas.microsoft.com/office/drawing/2014/main" id="{11F1BB30-EC72-D5B7-3AF2-2E77C5E529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853" t="21031" r="3880" b="18075"/>
          <a:stretch/>
        </p:blipFill>
        <p:spPr>
          <a:xfrm>
            <a:off x="7665269" y="2451537"/>
            <a:ext cx="4234968" cy="2136778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438EFE34-85E5-45C8-FB92-9802905367E8}"/>
              </a:ext>
            </a:extLst>
          </p:cNvPr>
          <p:cNvSpPr/>
          <p:nvPr/>
        </p:nvSpPr>
        <p:spPr>
          <a:xfrm>
            <a:off x="9161971" y="3535834"/>
            <a:ext cx="471340" cy="282804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214D40A-A618-AAEA-4320-84754F63C1A3}"/>
              </a:ext>
            </a:extLst>
          </p:cNvPr>
          <p:cNvCxnSpPr>
            <a:cxnSpLocks/>
          </p:cNvCxnSpPr>
          <p:nvPr/>
        </p:nvCxnSpPr>
        <p:spPr>
          <a:xfrm>
            <a:off x="9717219" y="2303434"/>
            <a:ext cx="633742" cy="921129"/>
          </a:xfrm>
          <a:prstGeom prst="straightConnector1">
            <a:avLst/>
          </a:prstGeom>
          <a:ln>
            <a:solidFill>
              <a:srgbClr val="EF9F3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F2D8EB4A-B8CE-EC6F-D343-D3FD06E4D755}"/>
              </a:ext>
            </a:extLst>
          </p:cNvPr>
          <p:cNvSpPr txBox="1"/>
          <p:nvPr/>
        </p:nvSpPr>
        <p:spPr>
          <a:xfrm>
            <a:off x="8372942" y="1923861"/>
            <a:ext cx="18273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Liquid trapped here, forming a g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56DC22-08AB-0D91-7AB6-8D24F66397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Introduction – what is a gel?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8F7FAB-511F-7730-95EA-CDCD608276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54669" y="2283798"/>
            <a:ext cx="6895941" cy="360000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 gel is a semi-solid mixture of a solid and a liquid.</a:t>
            </a:r>
          </a:p>
          <a:p>
            <a:pPr marL="0" indent="0">
              <a:buNone/>
            </a:pPr>
            <a:r>
              <a:rPr lang="en-US" dirty="0"/>
              <a:t>The liquid in a gel is contained by a solid that forms a network and traps the liquid, preventing it from flowing freely.</a:t>
            </a:r>
          </a:p>
          <a:p>
            <a:pPr marL="0" indent="0">
              <a:buNone/>
            </a:pPr>
            <a:r>
              <a:rPr lang="en-US" dirty="0"/>
              <a:t>This means that although a gel is mostly liquid, it behaves more like a solid.</a:t>
            </a:r>
          </a:p>
          <a:p>
            <a:pPr marL="0" indent="0">
              <a:buNone/>
            </a:pPr>
            <a:r>
              <a:rPr lang="en-GB" dirty="0"/>
              <a:t>Proteins are important components of many gels. A commonly used protein used to form gels is gelatine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40FDCF-825E-79AC-F7CD-7FD4C72F180B}"/>
              </a:ext>
            </a:extLst>
          </p:cNvPr>
          <p:cNvSpPr txBox="1"/>
          <p:nvPr/>
        </p:nvSpPr>
        <p:spPr>
          <a:xfrm>
            <a:off x="8131206" y="4841615"/>
            <a:ext cx="32954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When a gel is formed, large molecules bond together and hold liquid in the pockets that form.</a:t>
            </a:r>
          </a:p>
        </p:txBody>
      </p:sp>
      <p:pic>
        <p:nvPicPr>
          <p:cNvPr id="4" name="Online Media 3" title="Jelly and Spoon">
            <a:hlinkClick r:id="" action="ppaction://media"/>
            <a:extLst>
              <a:ext uri="{FF2B5EF4-FFF2-40B4-BE49-F238E27FC236}">
                <a16:creationId xmlns:a16="http://schemas.microsoft.com/office/drawing/2014/main" id="{80601EFB-AA08-31CE-5D90-CA5AA39C1C3F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4"/>
          <a:stretch>
            <a:fillRect/>
          </a:stretch>
        </p:blipFill>
        <p:spPr>
          <a:xfrm>
            <a:off x="2443623" y="4706555"/>
            <a:ext cx="3357953" cy="1897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7727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2517A4-E10A-E444-1061-434E356416A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>
                <a:latin typeface="Arial"/>
                <a:cs typeface="Arial"/>
              </a:rPr>
              <a:t>The science of gelation</a:t>
            </a:r>
            <a:endParaRPr lang="en-US" b="0" dirty="0">
              <a:latin typeface="Arial"/>
              <a:cs typeface="Arial"/>
            </a:endParaRPr>
          </a:p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DC99BCA-D4B3-5B9E-85FC-708932B92C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7" y="2571092"/>
            <a:ext cx="6995010" cy="3600000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GB" dirty="0">
                <a:latin typeface="Arial"/>
                <a:cs typeface="Arial"/>
              </a:rPr>
              <a:t>Foods such as jams, puddings and some bakery products may all utilise carbohydrates for their gel-like properties. For example, jams contain </a:t>
            </a:r>
            <a:r>
              <a:rPr lang="en-GB" dirty="0" err="1">
                <a:latin typeface="Arial"/>
                <a:cs typeface="Arial"/>
              </a:rPr>
              <a:t>pectins</a:t>
            </a:r>
            <a:r>
              <a:rPr lang="en-GB" dirty="0">
                <a:latin typeface="Arial"/>
                <a:cs typeface="Arial"/>
              </a:rPr>
              <a:t> (naturally occurring within the fruit), which give the final product its jelly-like consistency, preventing it from collapsing.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GB" dirty="0">
                <a:latin typeface="Arial"/>
                <a:cs typeface="Arial"/>
              </a:rPr>
              <a:t>Foods such as salad dressings and cake batters may contain forms of modified cellulose, also used for their gelling properties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GB" dirty="0">
                <a:latin typeface="Arial"/>
                <a:cs typeface="Arial"/>
              </a:rPr>
              <a:t>  </a:t>
            </a:r>
            <a:endParaRPr lang="en-US" dirty="0"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</p:txBody>
      </p:sp>
      <p:pic>
        <p:nvPicPr>
          <p:cNvPr id="4" name="Picture 3" descr="A picture containing red, food, tableware, dishware&#10;&#10;Description automatically generated">
            <a:extLst>
              <a:ext uri="{FF2B5EF4-FFF2-40B4-BE49-F238E27FC236}">
                <a16:creationId xmlns:a16="http://schemas.microsoft.com/office/drawing/2014/main" id="{2F9F048E-73E4-8DBF-60A9-9D7E8B2E24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32768" y="2893668"/>
            <a:ext cx="3058194" cy="2547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7638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902433-BE09-580A-3E8C-C0DDD80ACC8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Gelatinisation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2844BDE-4E6A-0B46-4D93-2FCABBF069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4" y="2579637"/>
            <a:ext cx="6342479" cy="3600000"/>
          </a:xfrm>
        </p:spPr>
        <p:txBody>
          <a:bodyPr/>
          <a:lstStyle/>
          <a:p>
            <a:pPr marL="0" indent="0">
              <a:buNone/>
            </a:pPr>
            <a:r>
              <a:rPr lang="en-GB" dirty="0">
                <a:latin typeface="Arial"/>
                <a:cs typeface="Arial"/>
              </a:rPr>
              <a:t>Gelatinisation is the result of starch granules (found in foods such as grains and starchy tubers such as potatoes) absorbing water in the presence of heat and expanding.</a:t>
            </a:r>
          </a:p>
          <a:p>
            <a:pPr marL="0" indent="0">
              <a:buNone/>
            </a:pPr>
            <a:r>
              <a:rPr lang="en-GB" dirty="0">
                <a:latin typeface="Arial"/>
                <a:cs typeface="Arial"/>
              </a:rPr>
              <a:t>This can cause foods containing starch to soften (e.g. cooking pasta) or can cause the thickenings of sauces (e.g. white sauce and other roux-based sauces).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 descr="A picture containing tableware, gravy boat, indoor, dishware&#10;&#10;Description automatically generated">
            <a:extLst>
              <a:ext uri="{FF2B5EF4-FFF2-40B4-BE49-F238E27FC236}">
                <a16:creationId xmlns:a16="http://schemas.microsoft.com/office/drawing/2014/main" id="{632F0D8B-C6B7-D08A-93FD-3532395F68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3702" y="2579637"/>
            <a:ext cx="3748635" cy="2744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2605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56DC22-08AB-0D91-7AB6-8D24F66397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Applying the science – white sauce</a:t>
            </a:r>
            <a:endParaRPr lang="en-US" dirty="0"/>
          </a:p>
        </p:txBody>
      </p:sp>
      <p:pic>
        <p:nvPicPr>
          <p:cNvPr id="3" name="Picture 2" descr="A close-up of some food&#10;&#10;Description automatically generated with medium confidence">
            <a:extLst>
              <a:ext uri="{FF2B5EF4-FFF2-40B4-BE49-F238E27FC236}">
                <a16:creationId xmlns:a16="http://schemas.microsoft.com/office/drawing/2014/main" id="{A5E6D1B2-7B65-C3A2-4B00-CBF31B922D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9341" y="2620262"/>
            <a:ext cx="2617149" cy="1745638"/>
          </a:xfrm>
          <a:prstGeom prst="rect">
            <a:avLst/>
          </a:prstGeom>
          <a:ln w="38100">
            <a:noFill/>
          </a:ln>
        </p:spPr>
      </p:pic>
      <p:pic>
        <p:nvPicPr>
          <p:cNvPr id="5" name="Picture 4" descr="A picture containing person, bowl, food, pan&#10;&#10;Description automatically generated">
            <a:extLst>
              <a:ext uri="{FF2B5EF4-FFF2-40B4-BE49-F238E27FC236}">
                <a16:creationId xmlns:a16="http://schemas.microsoft.com/office/drawing/2014/main" id="{464E80ED-CAA9-76E5-95C7-5E78D86627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494" t="6369" r="15238" b="12854"/>
          <a:stretch/>
        </p:blipFill>
        <p:spPr>
          <a:xfrm>
            <a:off x="387720" y="2620263"/>
            <a:ext cx="2503458" cy="1745637"/>
          </a:xfrm>
          <a:prstGeom prst="rect">
            <a:avLst/>
          </a:prstGeom>
        </p:spPr>
      </p:pic>
      <p:pic>
        <p:nvPicPr>
          <p:cNvPr id="7" name="Picture 6" descr="A fork in a pot of food&#10;&#10;Description automatically generated with medium confidence">
            <a:extLst>
              <a:ext uri="{FF2B5EF4-FFF2-40B4-BE49-F238E27FC236}">
                <a16:creationId xmlns:a16="http://schemas.microsoft.com/office/drawing/2014/main" id="{3C030315-623F-5D32-BFE6-DC71482F9E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4653" y="2620261"/>
            <a:ext cx="2652948" cy="1745640"/>
          </a:xfrm>
          <a:prstGeom prst="rect">
            <a:avLst/>
          </a:prstGeom>
        </p:spPr>
      </p:pic>
      <p:pic>
        <p:nvPicPr>
          <p:cNvPr id="9" name="Picture 8" descr="A picture containing indoor, food&#10;&#10;Description automatically generated">
            <a:extLst>
              <a:ext uri="{FF2B5EF4-FFF2-40B4-BE49-F238E27FC236}">
                <a16:creationId xmlns:a16="http://schemas.microsoft.com/office/drawing/2014/main" id="{4B7FFB2F-004A-C78D-DDEC-CA7CB91F90C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7171" t="15181"/>
          <a:stretch/>
        </p:blipFill>
        <p:spPr>
          <a:xfrm>
            <a:off x="9205765" y="2620261"/>
            <a:ext cx="2555787" cy="174564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B313506-983B-B319-B24C-24701C1FC030}"/>
              </a:ext>
            </a:extLst>
          </p:cNvPr>
          <p:cNvSpPr txBox="1"/>
          <p:nvPr/>
        </p:nvSpPr>
        <p:spPr>
          <a:xfrm>
            <a:off x="280546" y="5109536"/>
            <a:ext cx="27180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Melt butter in a pa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64644A6-A9D7-45A9-3363-6C3856EEB38B}"/>
              </a:ext>
            </a:extLst>
          </p:cNvPr>
          <p:cNvSpPr txBox="1"/>
          <p:nvPr/>
        </p:nvSpPr>
        <p:spPr>
          <a:xfrm>
            <a:off x="3207221" y="4832537"/>
            <a:ext cx="271807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dd equal amounts flour to the pan and stir to combin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5C2986E-5820-1C37-17C8-334CEB18C9BE}"/>
              </a:ext>
            </a:extLst>
          </p:cNvPr>
          <p:cNvSpPr txBox="1"/>
          <p:nvPr/>
        </p:nvSpPr>
        <p:spPr>
          <a:xfrm>
            <a:off x="6133896" y="4694038"/>
            <a:ext cx="271807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Mix or whisk together and allow to cook for at least 3 to 5 minutes to allow the starch to absorb the liqui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4091E2-8DDD-A9C3-B769-B558A16193F0}"/>
              </a:ext>
            </a:extLst>
          </p:cNvPr>
          <p:cNvSpPr txBox="1"/>
          <p:nvPr/>
        </p:nvSpPr>
        <p:spPr>
          <a:xfrm>
            <a:off x="9060571" y="4832537"/>
            <a:ext cx="271807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Slowly add milk a little at a time, until a smooth sauce is formed</a:t>
            </a:r>
          </a:p>
        </p:txBody>
      </p:sp>
    </p:spTree>
    <p:extLst>
      <p:ext uri="{BB962C8B-B14F-4D97-AF65-F5344CB8AC3E}">
        <p14:creationId xmlns:p14="http://schemas.microsoft.com/office/powerpoint/2010/main" val="27276051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B8B1D9-E25C-F40A-522B-54113616FB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Activities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AB9D22-B491-9AFA-4800-DD173F69AF8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>
                <a:latin typeface="Arial"/>
                <a:cs typeface="Arial"/>
              </a:rPr>
              <a:t>Pupils, individually or in groups, could:</a:t>
            </a:r>
          </a:p>
          <a:p>
            <a:pPr marL="342900" indent="-342900"/>
            <a:r>
              <a:rPr lang="en-GB" dirty="0">
                <a:latin typeface="Arial"/>
                <a:cs typeface="Arial"/>
              </a:rPr>
              <a:t>Use the </a:t>
            </a:r>
            <a:r>
              <a:rPr lang="en-GB" dirty="0">
                <a:latin typeface="Arial"/>
                <a:cs typeface="Arial"/>
                <a:hlinkClick r:id="rId2"/>
              </a:rPr>
              <a:t>Sauces fact sheet</a:t>
            </a:r>
            <a:r>
              <a:rPr lang="en-GB" dirty="0">
                <a:latin typeface="Arial"/>
                <a:cs typeface="Arial"/>
              </a:rPr>
              <a:t> and the </a:t>
            </a:r>
            <a:r>
              <a:rPr lang="en-GB" dirty="0">
                <a:latin typeface="Arial"/>
                <a:cs typeface="Arial"/>
                <a:hlinkClick r:id="rId3"/>
              </a:rPr>
              <a:t>What is a roux sauce? presentation</a:t>
            </a:r>
            <a:r>
              <a:rPr lang="en-GB" dirty="0">
                <a:latin typeface="Arial"/>
                <a:cs typeface="Arial"/>
              </a:rPr>
              <a:t> and  </a:t>
            </a:r>
            <a:r>
              <a:rPr lang="en-GB" dirty="0">
                <a:latin typeface="Arial"/>
                <a:cs typeface="Arial"/>
                <a:hlinkClick r:id="rId4"/>
              </a:rPr>
              <a:t>What is a roux sauce? information sheet</a:t>
            </a:r>
            <a:r>
              <a:rPr lang="en-GB" dirty="0">
                <a:latin typeface="Arial"/>
                <a:cs typeface="Arial"/>
              </a:rPr>
              <a:t> to understand how sauces are made and their different properties. As a teacher, you can use the </a:t>
            </a:r>
            <a:r>
              <a:rPr lang="en-GB" dirty="0">
                <a:latin typeface="Arial"/>
                <a:cs typeface="Arial"/>
                <a:hlinkClick r:id="rId5"/>
              </a:rPr>
              <a:t>Understanding sauces teacher’s guide</a:t>
            </a:r>
            <a:r>
              <a:rPr lang="en-GB" dirty="0">
                <a:latin typeface="Arial"/>
                <a:cs typeface="Arial"/>
              </a:rPr>
              <a:t> to help.</a:t>
            </a:r>
          </a:p>
          <a:p>
            <a:pPr marL="342900" indent="-342900"/>
            <a:r>
              <a:rPr lang="en-GB" dirty="0">
                <a:latin typeface="Arial"/>
                <a:cs typeface="Arial"/>
              </a:rPr>
              <a:t>Pupils can also use the </a:t>
            </a:r>
            <a:r>
              <a:rPr lang="en-GB" dirty="0">
                <a:latin typeface="Arial"/>
                <a:cs typeface="Arial"/>
                <a:hlinkClick r:id="rId6"/>
              </a:rPr>
              <a:t>Viscosity chart</a:t>
            </a:r>
            <a:r>
              <a:rPr lang="en-GB" dirty="0">
                <a:latin typeface="Arial"/>
                <a:cs typeface="Arial"/>
              </a:rPr>
              <a:t> to investigate the viscosity of different sauces, including those made in the </a:t>
            </a:r>
            <a:r>
              <a:rPr lang="en-GB" dirty="0">
                <a:latin typeface="Arial"/>
                <a:cs typeface="Arial"/>
                <a:hlinkClick r:id="rId7"/>
              </a:rPr>
              <a:t>Sauce making experiment</a:t>
            </a:r>
            <a:r>
              <a:rPr lang="en-GB" dirty="0">
                <a:latin typeface="Arial"/>
                <a:cs typeface="Arial"/>
              </a:rPr>
              <a:t>.</a:t>
            </a:r>
          </a:p>
          <a:p>
            <a:pPr marL="342900" indent="-342900"/>
            <a:r>
              <a:rPr lang="en-GB" dirty="0">
                <a:latin typeface="Arial"/>
                <a:cs typeface="Arial"/>
              </a:rPr>
              <a:t>Use the </a:t>
            </a:r>
            <a:r>
              <a:rPr lang="en-GB" dirty="0">
                <a:latin typeface="Arial"/>
                <a:cs typeface="Arial"/>
                <a:hlinkClick r:id="rId8"/>
              </a:rPr>
              <a:t>Gelatinisation lesson plan</a:t>
            </a:r>
            <a:r>
              <a:rPr lang="en-GB" dirty="0">
                <a:latin typeface="Arial"/>
                <a:cs typeface="Arial"/>
              </a:rPr>
              <a:t> to teach your pupils more about gelatinisation. Pupils can then fill out the </a:t>
            </a:r>
            <a:r>
              <a:rPr lang="en-GB" dirty="0">
                <a:latin typeface="Arial"/>
                <a:cs typeface="Arial"/>
                <a:hlinkClick r:id="rId9"/>
              </a:rPr>
              <a:t>Investigating gelatinisation worksheet</a:t>
            </a:r>
            <a:r>
              <a:rPr lang="en-GB" dirty="0">
                <a:latin typeface="Arial"/>
                <a:cs typeface="Arial"/>
              </a:rPr>
              <a:t>.</a:t>
            </a:r>
          </a:p>
          <a:p>
            <a:pPr marL="342900" indent="-342900"/>
            <a:r>
              <a:rPr lang="en-GB" dirty="0">
                <a:latin typeface="Arial"/>
                <a:cs typeface="Arial"/>
              </a:rPr>
              <a:t>Additional learning – enzymes can affect the structure and integrity of gels. Use the </a:t>
            </a:r>
            <a:r>
              <a:rPr lang="en-GB" dirty="0">
                <a:latin typeface="Arial"/>
                <a:cs typeface="Arial"/>
                <a:hlinkClick r:id="rId10"/>
              </a:rPr>
              <a:t>Enzymes and gels worksheet</a:t>
            </a:r>
            <a:r>
              <a:rPr lang="en-GB" dirty="0">
                <a:latin typeface="Arial"/>
                <a:cs typeface="Arial"/>
              </a:rPr>
              <a:t> to learn more.</a:t>
            </a:r>
          </a:p>
          <a:p>
            <a:pPr marL="342900" indent="-342900"/>
            <a:endParaRPr lang="en-GB" dirty="0">
              <a:latin typeface="Arial"/>
              <a:cs typeface="Arial"/>
            </a:endParaRPr>
          </a:p>
          <a:p>
            <a:pPr marL="342900" indent="-342900"/>
            <a:endParaRPr lang="en-GB" dirty="0"/>
          </a:p>
          <a:p>
            <a:pPr marL="342900" indent="-342900"/>
            <a:endParaRPr lang="en-GB" dirty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87817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9957A6-0FFC-F702-9FBB-59B31771F9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>
                <a:latin typeface="Arial"/>
                <a:cs typeface="Arial"/>
              </a:rPr>
              <a:t>Further supporting resources</a:t>
            </a:r>
            <a:endParaRPr lang="en-US" b="0" dirty="0">
              <a:latin typeface="Arial"/>
              <a:cs typeface="Arial"/>
            </a:endParaRPr>
          </a:p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204CA75-A31A-AD47-DC3C-C19E15F38F8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latin typeface="Arial"/>
                <a:cs typeface="Arial"/>
                <a:hlinkClick r:id="rId2"/>
              </a:rPr>
              <a:t>IFST – Carbohydrates: Gelatinisation</a:t>
            </a:r>
            <a:endParaRPr lang="en-GB" dirty="0">
              <a:latin typeface="Arial"/>
              <a:cs typeface="Arial"/>
            </a:endParaRPr>
          </a:p>
          <a:p>
            <a:r>
              <a:rPr lang="en-GB" dirty="0">
                <a:latin typeface="Arial"/>
                <a:cs typeface="Arial"/>
                <a:hlinkClick r:id="rId3"/>
              </a:rPr>
              <a:t>RSC – Kitchen Chemistry: Enzymes and jellies</a:t>
            </a:r>
            <a:endParaRPr lang="en-GB" dirty="0">
              <a:latin typeface="Arial"/>
              <a:cs typeface="Arial"/>
            </a:endParaRPr>
          </a:p>
          <a:p>
            <a:endParaRPr lang="en-GB" dirty="0">
              <a:latin typeface="Arial"/>
              <a:cs typeface="Arial"/>
            </a:endParaRP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11096791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8F7D6-0DE9-55CD-510F-91955FB2115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Recipes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4AB2AE-64C7-4EAD-7377-33BA885C3F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4" y="2150448"/>
            <a:ext cx="7752535" cy="3600000"/>
          </a:xfrm>
        </p:spPr>
        <p:txBody>
          <a:bodyPr/>
          <a:lstStyle/>
          <a:p>
            <a:pPr marL="0" indent="0">
              <a:buNone/>
            </a:pPr>
            <a:r>
              <a:rPr lang="en-US" sz="1600" b="1" dirty="0">
                <a:latin typeface="Arial"/>
                <a:cs typeface="Arial"/>
              </a:rPr>
              <a:t>Gelation</a:t>
            </a:r>
          </a:p>
          <a:p>
            <a:r>
              <a:rPr lang="en-US" sz="1600" dirty="0">
                <a:latin typeface="Arial"/>
                <a:cs typeface="Arial"/>
                <a:hlinkClick r:id="rId2"/>
              </a:rPr>
              <a:t>Raised pork pie</a:t>
            </a:r>
            <a:endParaRPr lang="en-US" sz="1600" dirty="0">
              <a:latin typeface="Arial"/>
              <a:cs typeface="Arial"/>
            </a:endParaRPr>
          </a:p>
          <a:p>
            <a:r>
              <a:rPr lang="en-US" sz="1600" dirty="0">
                <a:latin typeface="Arial"/>
                <a:cs typeface="Arial"/>
                <a:hlinkClick r:id="rId3"/>
              </a:rPr>
              <a:t>Fruit jelly</a:t>
            </a:r>
            <a:endParaRPr lang="en-US" sz="1600" dirty="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600" b="1" dirty="0" err="1">
                <a:latin typeface="Arial"/>
                <a:cs typeface="Arial"/>
              </a:rPr>
              <a:t>Gelatinisation</a:t>
            </a:r>
            <a:endParaRPr lang="en-US" sz="1600" b="1" dirty="0">
              <a:latin typeface="Arial"/>
              <a:cs typeface="Arial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>
                <a:latin typeface="Arial"/>
                <a:cs typeface="Arial"/>
                <a:hlinkClick r:id="rId4"/>
              </a:rPr>
              <a:t>White sauce</a:t>
            </a:r>
            <a:endParaRPr lang="en-US" sz="1600" dirty="0">
              <a:latin typeface="Arial"/>
              <a:cs typeface="Arial"/>
            </a:endParaRPr>
          </a:p>
          <a:p>
            <a:r>
              <a:rPr lang="en-US" sz="1600" dirty="0">
                <a:hlinkClick r:id="rId5"/>
              </a:rPr>
              <a:t>Savoury choux buns with a roux sauce filling</a:t>
            </a:r>
            <a:endParaRPr lang="en-US" sz="1600" dirty="0"/>
          </a:p>
          <a:p>
            <a:r>
              <a:rPr lang="en-GB" sz="1600" dirty="0">
                <a:hlinkClick r:id="rId6"/>
              </a:rPr>
              <a:t>Moussaka stuffed aubergine, topped with cheesy souffle sauce</a:t>
            </a:r>
            <a:endParaRPr lang="en-GB" sz="1600" dirty="0"/>
          </a:p>
          <a:p>
            <a:r>
              <a:rPr lang="en-GB" sz="1600" dirty="0">
                <a:hlinkClick r:id="rId7"/>
              </a:rPr>
              <a:t>Chicken pie</a:t>
            </a:r>
            <a:endParaRPr lang="en-GB" sz="1600" dirty="0"/>
          </a:p>
          <a:p>
            <a:r>
              <a:rPr lang="en-GB" sz="1600" dirty="0">
                <a:hlinkClick r:id="rId8"/>
              </a:rPr>
              <a:t>Fish pie</a:t>
            </a:r>
            <a:endParaRPr lang="en-GB" sz="1600" dirty="0"/>
          </a:p>
          <a:p>
            <a:r>
              <a:rPr lang="en-GB" sz="1600" dirty="0">
                <a:hlinkClick r:id="rId9"/>
              </a:rPr>
              <a:t>Fruit pancakes</a:t>
            </a:r>
            <a:endParaRPr lang="en-GB" sz="1600" dirty="0"/>
          </a:p>
          <a:p>
            <a:r>
              <a:rPr lang="en-GB" sz="1600" dirty="0">
                <a:hlinkClick r:id="rId10"/>
              </a:rPr>
              <a:t>Pasta Fiorentina</a:t>
            </a:r>
            <a:endParaRPr lang="en-GB" sz="1600" dirty="0"/>
          </a:p>
          <a:p>
            <a:r>
              <a:rPr lang="en-GB" sz="1600" dirty="0">
                <a:hlinkClick r:id="rId11"/>
              </a:rPr>
              <a:t>Pork and leek risotto</a:t>
            </a:r>
            <a:endParaRPr lang="en-GB" sz="1600" dirty="0"/>
          </a:p>
          <a:p>
            <a:r>
              <a:rPr lang="en-GB" sz="1600" dirty="0">
                <a:hlinkClick r:id="rId12"/>
              </a:rPr>
              <a:t>Muesli pancakes with summer berry compote</a:t>
            </a:r>
            <a:endParaRPr lang="en-US" sz="1600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473127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A84C499-0517-4887-96DB-81C9129ABB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9945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A84C499-0517-4887-96DB-81C9129ABB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Gelation and </a:t>
            </a:r>
            <a:r>
              <a:rPr lang="en-US" dirty="0" err="1"/>
              <a:t>gelatinisation</a:t>
            </a:r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8C3A9D8-F056-4907-ADD0-8B883B971968}"/>
              </a:ext>
            </a:extLst>
          </p:cNvPr>
          <p:cNvSpPr txBox="1"/>
          <p:nvPr/>
        </p:nvSpPr>
        <p:spPr>
          <a:xfrm>
            <a:off x="486577" y="6116351"/>
            <a:ext cx="99043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This resource meets the</a:t>
            </a:r>
            <a:r>
              <a:rPr lang="en-GB" sz="1400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1" i="1" u="sng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Guidelines for producers and users of school education resources about food</a:t>
            </a:r>
            <a:r>
              <a:rPr lang="en-GB" sz="1400" b="1" i="1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GB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1856EBA-6E82-ACB4-2EED-47977C11FA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6577" y="3065488"/>
            <a:ext cx="11084100" cy="3087973"/>
          </a:xfrm>
        </p:spPr>
        <p:txBody>
          <a:bodyPr/>
          <a:lstStyle/>
          <a:p>
            <a:pPr marL="0" indent="0" algn="ctr">
              <a:buNone/>
            </a:pPr>
            <a:r>
              <a:rPr lang="en-GB" sz="3600" dirty="0"/>
              <a:t>For further information, go to:</a:t>
            </a:r>
          </a:p>
          <a:p>
            <a:pPr marL="0" indent="0" algn="ctr">
              <a:buNone/>
            </a:pPr>
            <a:r>
              <a:rPr lang="en-GB" sz="3600" dirty="0">
                <a:hlinkClick r:id="rId6"/>
              </a:rPr>
              <a:t>www.foodafactoflife.org.uk</a:t>
            </a:r>
            <a:endParaRPr lang="en-GB" sz="3600" dirty="0"/>
          </a:p>
          <a:p>
            <a:pPr marL="0" indent="0" algn="ctr">
              <a:buNone/>
            </a:pPr>
            <a:endParaRPr lang="en-GB" sz="3600" dirty="0"/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Arial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charset="0"/>
              </a:rPr>
              <a:t>This food science pack is one of a series of resources produced for the </a:t>
            </a:r>
            <a:r>
              <a:rPr kumimoji="0" lang="en-GB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charset="0"/>
              </a:rPr>
              <a:t>pHood</a:t>
            </a: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charset="0"/>
              </a:rPr>
              <a:t> Futures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charset="0"/>
              </a:rPr>
              <a:t>project, supported by the Royal Society of Chemistry.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 charset="0"/>
            </a:endParaRPr>
          </a:p>
          <a:p>
            <a:pPr marL="0" indent="0" algn="ctr">
              <a:buNone/>
            </a:pPr>
            <a:endParaRPr lang="en-GB" sz="3600" dirty="0"/>
          </a:p>
        </p:txBody>
      </p:sp>
    </p:spTree>
    <p:extLst>
      <p:ext uri="{BB962C8B-B14F-4D97-AF65-F5344CB8AC3E}">
        <p14:creationId xmlns:p14="http://schemas.microsoft.com/office/powerpoint/2010/main" val="23020051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656FD1-4489-F55F-822B-620888FD55A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Foods that are gels</a:t>
            </a:r>
          </a:p>
        </p:txBody>
      </p:sp>
      <p:pic>
        <p:nvPicPr>
          <p:cNvPr id="8" name="Picture 7" descr="A picture containing food, orange, custard, yellow&#10;&#10;Description automatically generated">
            <a:extLst>
              <a:ext uri="{FF2B5EF4-FFF2-40B4-BE49-F238E27FC236}">
                <a16:creationId xmlns:a16="http://schemas.microsoft.com/office/drawing/2014/main" id="{D614B826-AA37-2930-A309-E6D096A2FD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603" y="2449965"/>
            <a:ext cx="2723550" cy="1816608"/>
          </a:xfrm>
          <a:prstGeom prst="rect">
            <a:avLst/>
          </a:prstGeom>
        </p:spPr>
      </p:pic>
      <p:pic>
        <p:nvPicPr>
          <p:cNvPr id="10" name="Picture 9" descr="A picture containing cup, food&#10;&#10;Description automatically generated">
            <a:extLst>
              <a:ext uri="{FF2B5EF4-FFF2-40B4-BE49-F238E27FC236}">
                <a16:creationId xmlns:a16="http://schemas.microsoft.com/office/drawing/2014/main" id="{912D0BC7-FFAD-78C0-EDD3-2A2CCAF9E2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8469" y="4291722"/>
            <a:ext cx="2349955" cy="2225408"/>
          </a:xfrm>
          <a:prstGeom prst="rect">
            <a:avLst/>
          </a:prstGeom>
        </p:spPr>
      </p:pic>
      <p:pic>
        <p:nvPicPr>
          <p:cNvPr id="16" name="Picture 15" descr="A picture containing sweet pepper, pepper, gelatin, vegetable&#10;&#10;Description automatically generated">
            <a:extLst>
              <a:ext uri="{FF2B5EF4-FFF2-40B4-BE49-F238E27FC236}">
                <a16:creationId xmlns:a16="http://schemas.microsoft.com/office/drawing/2014/main" id="{9FAE1215-11A4-9538-0DFE-82BA25ECD7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42497" y="4371439"/>
            <a:ext cx="2255605" cy="1804484"/>
          </a:xfrm>
          <a:prstGeom prst="rect">
            <a:avLst/>
          </a:prstGeom>
        </p:spPr>
      </p:pic>
      <p:pic>
        <p:nvPicPr>
          <p:cNvPr id="3" name="Picture 2" descr="A picture containing red, food, tableware, dishware&#10;&#10;Description automatically generated">
            <a:extLst>
              <a:ext uri="{FF2B5EF4-FFF2-40B4-BE49-F238E27FC236}">
                <a16:creationId xmlns:a16="http://schemas.microsoft.com/office/drawing/2014/main" id="{9205AD4E-BD7C-8A91-6AD1-768B00565B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99011" y="1885264"/>
            <a:ext cx="3058194" cy="254747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DED548E-5717-8F57-78EE-B25F280136ED}"/>
              </a:ext>
            </a:extLst>
          </p:cNvPr>
          <p:cNvSpPr txBox="1"/>
          <p:nvPr/>
        </p:nvSpPr>
        <p:spPr>
          <a:xfrm>
            <a:off x="3055092" y="3136495"/>
            <a:ext cx="16674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Set custard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8A83E61-8A61-D2DA-6ABB-0D873B54DA7D}"/>
              </a:ext>
            </a:extLst>
          </p:cNvPr>
          <p:cNvSpPr txBox="1"/>
          <p:nvPr/>
        </p:nvSpPr>
        <p:spPr>
          <a:xfrm>
            <a:off x="2646791" y="5390885"/>
            <a:ext cx="16674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Yogur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59A193-0D1F-6C2B-B1EE-563B5C8341B7}"/>
              </a:ext>
            </a:extLst>
          </p:cNvPr>
          <p:cNvSpPr txBox="1"/>
          <p:nvPr/>
        </p:nvSpPr>
        <p:spPr>
          <a:xfrm>
            <a:off x="8574090" y="3088349"/>
            <a:ext cx="16674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Jam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82AF9A2-E554-C7F2-6D91-C0B1B0712CEE}"/>
              </a:ext>
            </a:extLst>
          </p:cNvPr>
          <p:cNvSpPr txBox="1"/>
          <p:nvPr/>
        </p:nvSpPr>
        <p:spPr>
          <a:xfrm>
            <a:off x="10598102" y="5294202"/>
            <a:ext cx="16674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Jellies</a:t>
            </a:r>
          </a:p>
        </p:txBody>
      </p:sp>
    </p:spTree>
    <p:extLst>
      <p:ext uri="{BB962C8B-B14F-4D97-AF65-F5344CB8AC3E}">
        <p14:creationId xmlns:p14="http://schemas.microsoft.com/office/powerpoint/2010/main" val="5754522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food, orange, custard, yellow&#10;&#10;Description automatically generated">
            <a:extLst>
              <a:ext uri="{FF2B5EF4-FFF2-40B4-BE49-F238E27FC236}">
                <a16:creationId xmlns:a16="http://schemas.microsoft.com/office/drawing/2014/main" id="{96BCCC31-25E4-1E9C-CC11-C772145C5E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88523" y="2767579"/>
            <a:ext cx="3515783" cy="234502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0656FD1-4489-F55F-822B-620888FD55A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Gelation in foo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28E501-5A4E-D1A3-A7D8-65D153A748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5" y="2571092"/>
            <a:ext cx="7419248" cy="3600000"/>
          </a:xfrm>
        </p:spPr>
        <p:txBody>
          <a:bodyPr/>
          <a:lstStyle/>
          <a:p>
            <a:r>
              <a:rPr lang="en-GB" dirty="0"/>
              <a:t>Baked custards are gels that are formed by a network of egg proteins.</a:t>
            </a:r>
          </a:p>
          <a:p>
            <a:r>
              <a:rPr lang="en-GB" dirty="0"/>
              <a:t>Yogurt is a gel that is formed when bacteria digest the lactose in milk to lactic acid. This makes the yogurt more acidic. The acidity causes the protein in yogurt to form a gel and trap the liquid.</a:t>
            </a:r>
          </a:p>
          <a:p>
            <a:r>
              <a:rPr lang="en-GB" dirty="0"/>
              <a:t>Jams contain pectin, which is found in some fruits and can also be added to foods. </a:t>
            </a:r>
            <a:r>
              <a:rPr lang="en-GB" dirty="0" err="1"/>
              <a:t>Pectins</a:t>
            </a:r>
            <a:r>
              <a:rPr lang="en-GB" dirty="0"/>
              <a:t> form the network that traps the liquid in a jam.</a:t>
            </a:r>
          </a:p>
          <a:p>
            <a:r>
              <a:rPr lang="en-GB" dirty="0"/>
              <a:t>Jellies rely on gelatine, or a vegan alternative (e.g. agar, carrageenan). Gelatine is made from collagen, a protein found in connective tissues in animals. This means it is not vegan suitable.</a:t>
            </a:r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37F21B2D-0E3B-42DC-85A8-4511EB39D461}"/>
              </a:ext>
            </a:extLst>
          </p:cNvPr>
          <p:cNvSpPr txBox="1">
            <a:spLocks/>
          </p:cNvSpPr>
          <p:nvPr/>
        </p:nvSpPr>
        <p:spPr>
          <a:xfrm>
            <a:off x="1169277" y="2571092"/>
            <a:ext cx="5847160" cy="3600000"/>
          </a:xfrm>
          <a:prstGeom prst="rect">
            <a:avLst/>
          </a:prstGeom>
        </p:spPr>
        <p:txBody>
          <a:bodyPr lIns="0" tIns="0" rIns="0" bIns="0" numCol="1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90000"/>
              <a:buFont typeface="Arial" charset="0"/>
              <a:buChar char="•"/>
              <a:defRPr sz="2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47267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656FD1-4489-F55F-822B-620888FD55A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e science of gelation - gelat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28E501-5A4E-D1A3-A7D8-65D153A748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6545419" cy="3600000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To form a gel, a </a:t>
            </a:r>
            <a:r>
              <a:rPr lang="en-GB" b="1" dirty="0"/>
              <a:t>gelling agent </a:t>
            </a:r>
            <a:r>
              <a:rPr lang="en-GB" dirty="0"/>
              <a:t>must be added to food.</a:t>
            </a:r>
          </a:p>
          <a:p>
            <a:pPr marL="0" indent="0">
              <a:buNone/>
            </a:pPr>
            <a:r>
              <a:rPr lang="en-GB" dirty="0"/>
              <a:t>One of the most common gelling agents used in food is gelatine. </a:t>
            </a:r>
          </a:p>
          <a:p>
            <a:pPr marL="0" indent="0">
              <a:buNone/>
            </a:pPr>
            <a:r>
              <a:rPr lang="en-GB" dirty="0"/>
              <a:t>Gelatine is usually bought as a dry powder, or sold in sheets. When added to liquid, the gelatine ‘blooms’, meaning it expands.</a:t>
            </a:r>
          </a:p>
          <a:p>
            <a:pPr marL="0" indent="0">
              <a:buNone/>
            </a:pPr>
            <a:r>
              <a:rPr lang="en-GB" dirty="0"/>
              <a:t>Once warmed, the gelatine can dissolve into the liquid. Upon cooling, a gel is formed.</a:t>
            </a:r>
          </a:p>
          <a:p>
            <a:pPr marL="0" indent="0">
              <a:buNone/>
            </a:pPr>
            <a:r>
              <a:rPr lang="en-GB" dirty="0"/>
              <a:t>Not only is gelatine used to form gels, in smaller amounts it can also stabilise and thicken foods, such as cream cheeses and dairy spread alternatives.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37F21B2D-0E3B-42DC-85A8-4511EB39D461}"/>
              </a:ext>
            </a:extLst>
          </p:cNvPr>
          <p:cNvSpPr txBox="1">
            <a:spLocks/>
          </p:cNvSpPr>
          <p:nvPr/>
        </p:nvSpPr>
        <p:spPr>
          <a:xfrm>
            <a:off x="1169277" y="2571092"/>
            <a:ext cx="5847160" cy="3600000"/>
          </a:xfrm>
          <a:prstGeom prst="rect">
            <a:avLst/>
          </a:prstGeom>
        </p:spPr>
        <p:txBody>
          <a:bodyPr lIns="0" tIns="0" rIns="0" bIns="0" numCol="1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90000"/>
              <a:buFont typeface="Arial" charset="0"/>
              <a:buChar char="•"/>
              <a:defRPr sz="2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</p:txBody>
      </p:sp>
      <p:pic>
        <p:nvPicPr>
          <p:cNvPr id="5" name="Picture 4" descr="A picture containing person, yellow&#10;&#10;Description automatically generated">
            <a:extLst>
              <a:ext uri="{FF2B5EF4-FFF2-40B4-BE49-F238E27FC236}">
                <a16:creationId xmlns:a16="http://schemas.microsoft.com/office/drawing/2014/main" id="{3544789E-1E8C-FE60-E2E3-0552BC23C0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38652" y="2964752"/>
            <a:ext cx="3376943" cy="2252421"/>
          </a:xfrm>
          <a:prstGeom prst="rect">
            <a:avLst/>
          </a:prstGeom>
          <a:ln w="38100">
            <a:solidFill>
              <a:srgbClr val="EF9F3F"/>
            </a:solidFill>
          </a:ln>
        </p:spPr>
      </p:pic>
    </p:spTree>
    <p:extLst>
      <p:ext uri="{BB962C8B-B14F-4D97-AF65-F5344CB8AC3E}">
        <p14:creationId xmlns:p14="http://schemas.microsoft.com/office/powerpoint/2010/main" val="29391498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56DC22-08AB-0D91-7AB6-8D24F66397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>
                <a:latin typeface="Arial"/>
                <a:cs typeface="Arial"/>
              </a:rPr>
              <a:t>Gelatin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8F7FAB-511F-7730-95EA-CDCD608276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6188653" cy="3600000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GB" dirty="0"/>
              <a:t>When gelatine is mixed with water and warmed, the proteins become denatured and unwind.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GB" dirty="0"/>
              <a:t>As the mixture is cooled, these proteins bind together and form a network around the liquid, resulting in a gel that is technically a liquid, but that has many properties of a solid.</a:t>
            </a: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</p:txBody>
      </p:sp>
      <p:pic>
        <p:nvPicPr>
          <p:cNvPr id="6" name="Picture 5" descr="A picture containing cloth, beverage&#10;&#10;Description automatically generated">
            <a:extLst>
              <a:ext uri="{FF2B5EF4-FFF2-40B4-BE49-F238E27FC236}">
                <a16:creationId xmlns:a16="http://schemas.microsoft.com/office/drawing/2014/main" id="{D43730C8-9EA2-65CD-2F0E-D28EEC6D17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48952" y="2811215"/>
            <a:ext cx="3261730" cy="2175573"/>
          </a:xfrm>
          <a:prstGeom prst="rect">
            <a:avLst/>
          </a:prstGeom>
          <a:ln w="38100">
            <a:solidFill>
              <a:srgbClr val="EF9F3F"/>
            </a:solidFill>
          </a:ln>
        </p:spPr>
      </p:pic>
    </p:spTree>
    <p:extLst>
      <p:ext uri="{BB962C8B-B14F-4D97-AF65-F5344CB8AC3E}">
        <p14:creationId xmlns:p14="http://schemas.microsoft.com/office/powerpoint/2010/main" val="10111354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56DC22-08AB-0D91-7AB6-8D24F66397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Applying the science - </a:t>
            </a:r>
            <a:r>
              <a:rPr lang="en-US" dirty="0" err="1">
                <a:latin typeface="Arial"/>
                <a:cs typeface="Arial"/>
              </a:rPr>
              <a:t>gelatine</a:t>
            </a:r>
            <a:endParaRPr lang="en-US" dirty="0"/>
          </a:p>
        </p:txBody>
      </p:sp>
      <p:pic>
        <p:nvPicPr>
          <p:cNvPr id="8" name="Picture 7" descr="A picture containing cloth, beverage&#10;&#10;Description automatically generated">
            <a:extLst>
              <a:ext uri="{FF2B5EF4-FFF2-40B4-BE49-F238E27FC236}">
                <a16:creationId xmlns:a16="http://schemas.microsoft.com/office/drawing/2014/main" id="{B06C7D99-9346-4D14-69D5-17B55E5834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0219" y="2522523"/>
            <a:ext cx="2718073" cy="1812954"/>
          </a:xfrm>
          <a:prstGeom prst="rect">
            <a:avLst/>
          </a:prstGeom>
        </p:spPr>
      </p:pic>
      <p:pic>
        <p:nvPicPr>
          <p:cNvPr id="10" name="Picture 9" descr="A picture containing person, indoor, metal, spoon&#10;&#10;Description automatically generated">
            <a:extLst>
              <a:ext uri="{FF2B5EF4-FFF2-40B4-BE49-F238E27FC236}">
                <a16:creationId xmlns:a16="http://schemas.microsoft.com/office/drawing/2014/main" id="{2FD0C988-BF18-B009-141C-2050EDAC63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282" y="2522522"/>
            <a:ext cx="2718073" cy="1812955"/>
          </a:xfrm>
          <a:prstGeom prst="rect">
            <a:avLst/>
          </a:prstGeom>
        </p:spPr>
      </p:pic>
      <p:pic>
        <p:nvPicPr>
          <p:cNvPr id="12" name="Picture 11" descr="A picture containing food, butter&#10;&#10;Description automatically generated">
            <a:extLst>
              <a:ext uri="{FF2B5EF4-FFF2-40B4-BE49-F238E27FC236}">
                <a16:creationId xmlns:a16="http://schemas.microsoft.com/office/drawing/2014/main" id="{207BD1F9-BAFB-6DF4-E9BC-D1A41B7E3F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84647" y="2522522"/>
            <a:ext cx="2718074" cy="1812955"/>
          </a:xfrm>
          <a:prstGeom prst="rect">
            <a:avLst/>
          </a:prstGeom>
        </p:spPr>
      </p:pic>
      <p:pic>
        <p:nvPicPr>
          <p:cNvPr id="14" name="Picture 13" descr="A picture containing cup, indoor, kitchenware, pan&#10;&#10;Description automatically generated">
            <a:extLst>
              <a:ext uri="{FF2B5EF4-FFF2-40B4-BE49-F238E27FC236}">
                <a16:creationId xmlns:a16="http://schemas.microsoft.com/office/drawing/2014/main" id="{396BAB8F-73DF-87FD-2B37-BE9425804D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31156" y="2522522"/>
            <a:ext cx="2500628" cy="18129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038C834-0F0E-A664-BE21-5AF37C4A84C1}"/>
              </a:ext>
            </a:extLst>
          </p:cNvPr>
          <p:cNvSpPr txBox="1"/>
          <p:nvPr/>
        </p:nvSpPr>
        <p:spPr>
          <a:xfrm>
            <a:off x="389282" y="4813049"/>
            <a:ext cx="271807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dd gelatine (powder or sheets) to water and allow to bloo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3D9C6F7-BC1E-ADCD-82FE-FDEA8A799EFA}"/>
              </a:ext>
            </a:extLst>
          </p:cNvPr>
          <p:cNvSpPr txBox="1"/>
          <p:nvPr/>
        </p:nvSpPr>
        <p:spPr>
          <a:xfrm>
            <a:off x="3315957" y="4674550"/>
            <a:ext cx="271807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When bloomed, the gelatine granules will expand as they absorb liqui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03D906B-B082-202C-4499-9A4A546295FC}"/>
              </a:ext>
            </a:extLst>
          </p:cNvPr>
          <p:cNvSpPr txBox="1"/>
          <p:nvPr/>
        </p:nvSpPr>
        <p:spPr>
          <a:xfrm>
            <a:off x="6242632" y="4951549"/>
            <a:ext cx="27180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dd gelatine to hot water to fully dissolv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832AD89-7D81-9E6E-036E-CBAB9D073748}"/>
              </a:ext>
            </a:extLst>
          </p:cNvPr>
          <p:cNvSpPr txBox="1"/>
          <p:nvPr/>
        </p:nvSpPr>
        <p:spPr>
          <a:xfrm>
            <a:off x="9169308" y="5090048"/>
            <a:ext cx="27180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Cool to form a gel</a:t>
            </a:r>
          </a:p>
        </p:txBody>
      </p:sp>
    </p:spTree>
    <p:extLst>
      <p:ext uri="{BB962C8B-B14F-4D97-AF65-F5344CB8AC3E}">
        <p14:creationId xmlns:p14="http://schemas.microsoft.com/office/powerpoint/2010/main" val="30514581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656FD1-4489-F55F-822B-620888FD55A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e science of gelation – making jell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28E501-5A4E-D1A3-A7D8-65D153A748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6545419" cy="3600000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Jelly cubes usually contain gelatine, which helps the jelly to set. They also contain sugar, sweeteners, colours and flavouring.</a:t>
            </a:r>
          </a:p>
          <a:p>
            <a:pPr marL="0" indent="0">
              <a:buNone/>
            </a:pPr>
            <a:r>
              <a:rPr lang="en-GB" dirty="0"/>
              <a:t>When heated in water, the colours, flavourings and sugar or sweeteners dissolve into the liquid and are also trapped.</a:t>
            </a:r>
          </a:p>
          <a:p>
            <a:pPr marL="0" indent="0">
              <a:buNone/>
            </a:pPr>
            <a:r>
              <a:rPr lang="en-GB" dirty="0"/>
              <a:t>Heating the cubes with water also releases the gelatine, which forms a network as it cools.</a:t>
            </a:r>
          </a:p>
          <a:p>
            <a:pPr marL="0" indent="0">
              <a:buNone/>
            </a:pPr>
            <a:r>
              <a:rPr lang="en-GB" dirty="0"/>
              <a:t>The result is a colourful, flavourful gel, that wobbles but stays solid – a jelly!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37F21B2D-0E3B-42DC-85A8-4511EB39D461}"/>
              </a:ext>
            </a:extLst>
          </p:cNvPr>
          <p:cNvSpPr txBox="1">
            <a:spLocks/>
          </p:cNvSpPr>
          <p:nvPr/>
        </p:nvSpPr>
        <p:spPr>
          <a:xfrm>
            <a:off x="1169277" y="2571092"/>
            <a:ext cx="5847160" cy="3600000"/>
          </a:xfrm>
          <a:prstGeom prst="rect">
            <a:avLst/>
          </a:prstGeom>
        </p:spPr>
        <p:txBody>
          <a:bodyPr lIns="0" tIns="0" rIns="0" bIns="0" numCol="1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90000"/>
              <a:buFont typeface="Arial" charset="0"/>
              <a:buChar char="•"/>
              <a:defRPr sz="2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</p:txBody>
      </p:sp>
      <p:pic>
        <p:nvPicPr>
          <p:cNvPr id="7" name="Picture 6" descr="A pink circle on a black surface&#10;&#10;Description automatically generated with medium confidence">
            <a:extLst>
              <a:ext uri="{FF2B5EF4-FFF2-40B4-BE49-F238E27FC236}">
                <a16:creationId xmlns:a16="http://schemas.microsoft.com/office/drawing/2014/main" id="{0E7DA468-F6F5-E396-1D4D-B66C2430AC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595" b="90555" l="6600" r="90000">
                        <a14:foregroundMark x1="9900" y1="59970" x2="9900" y2="59970"/>
                        <a14:foregroundMark x1="6600" y1="57271" x2="6600" y2="57271"/>
                        <a14:foregroundMark x1="26200" y1="90555" x2="26200" y2="90555"/>
                        <a14:foregroundMark x1="31800" y1="90555" x2="31800" y2="9055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146391" y="3373552"/>
            <a:ext cx="4115999" cy="274537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01F98C5-9E39-232B-A83A-A25DE854A7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35171" y="2140730"/>
            <a:ext cx="3058194" cy="1844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9564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656FD1-4489-F55F-822B-620888FD55A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Gelatinis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28E501-5A4E-D1A3-A7D8-65D153A748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6689132" cy="3600000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Gelatinisation is different to gelation. It involves the swelling of starch granules when exposed to liquid and heat.</a:t>
            </a:r>
          </a:p>
          <a:p>
            <a:pPr marL="0" indent="0">
              <a:buNone/>
            </a:pPr>
            <a:r>
              <a:rPr lang="en-GB" dirty="0"/>
              <a:t>Flours and other carbohydrates (e.g. potatoes) contain starch granules, that swell as they are heated with liquid. Eventually, the granules swell to the point that they burst and release starch.</a:t>
            </a:r>
          </a:p>
          <a:p>
            <a:pPr marL="0" indent="0">
              <a:buNone/>
            </a:pPr>
            <a:r>
              <a:rPr lang="en-GB" dirty="0"/>
              <a:t>This thickens the liquid.</a:t>
            </a:r>
          </a:p>
          <a:p>
            <a:pPr marL="0" indent="0">
              <a:buNone/>
            </a:pPr>
            <a:r>
              <a:rPr lang="en-GB" dirty="0"/>
              <a:t>A key difference between gelation and gelatinisation is that gelation involves solidifying on </a:t>
            </a:r>
            <a:r>
              <a:rPr lang="en-GB" b="1" dirty="0"/>
              <a:t>cooling</a:t>
            </a:r>
            <a:r>
              <a:rPr lang="en-GB" dirty="0"/>
              <a:t>, whereas gelatinisation involves thickening on </a:t>
            </a:r>
            <a:r>
              <a:rPr lang="en-GB" b="1" dirty="0"/>
              <a:t>heating</a:t>
            </a:r>
            <a:r>
              <a:rPr lang="en-GB" dirty="0"/>
              <a:t>.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37F21B2D-0E3B-42DC-85A8-4511EB39D461}"/>
              </a:ext>
            </a:extLst>
          </p:cNvPr>
          <p:cNvSpPr txBox="1">
            <a:spLocks/>
          </p:cNvSpPr>
          <p:nvPr/>
        </p:nvSpPr>
        <p:spPr>
          <a:xfrm>
            <a:off x="1169277" y="2571092"/>
            <a:ext cx="5847160" cy="3600000"/>
          </a:xfrm>
          <a:prstGeom prst="rect">
            <a:avLst/>
          </a:prstGeom>
        </p:spPr>
        <p:txBody>
          <a:bodyPr lIns="0" tIns="0" rIns="0" bIns="0" numCol="1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90000"/>
              <a:buFont typeface="Arial" charset="0"/>
              <a:buChar char="•"/>
              <a:defRPr sz="2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</p:txBody>
      </p:sp>
      <p:pic>
        <p:nvPicPr>
          <p:cNvPr id="8" name="Picture 7" descr="A picture containing bubble&#10;&#10;Description automatically generated">
            <a:extLst>
              <a:ext uri="{FF2B5EF4-FFF2-40B4-BE49-F238E27FC236}">
                <a16:creationId xmlns:a16="http://schemas.microsoft.com/office/drawing/2014/main" id="{EAB0D678-5176-EE1D-5255-06A89A0E57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03493" y="2571092"/>
            <a:ext cx="3058194" cy="2052048"/>
          </a:xfrm>
          <a:prstGeom prst="rect">
            <a:avLst/>
          </a:prstGeom>
          <a:ln w="38100">
            <a:solidFill>
              <a:srgbClr val="EF9F3F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E235514-9482-1138-DC34-4246F24919B0}"/>
              </a:ext>
            </a:extLst>
          </p:cNvPr>
          <p:cNvSpPr txBox="1"/>
          <p:nvPr/>
        </p:nvSpPr>
        <p:spPr>
          <a:xfrm>
            <a:off x="8284859" y="4927641"/>
            <a:ext cx="32954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This image shows starch granules in a potato under a microscope</a:t>
            </a:r>
          </a:p>
        </p:txBody>
      </p:sp>
    </p:spTree>
    <p:extLst>
      <p:ext uri="{BB962C8B-B14F-4D97-AF65-F5344CB8AC3E}">
        <p14:creationId xmlns:p14="http://schemas.microsoft.com/office/powerpoint/2010/main" val="20932758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5B78CA333243439763E4169A5FEB7F" ma:contentTypeVersion="17" ma:contentTypeDescription="Create a new document." ma:contentTypeScope="" ma:versionID="f2c597ebce0aa0fd5759700e14dd3adc">
  <xsd:schema xmlns:xsd="http://www.w3.org/2001/XMLSchema" xmlns:xs="http://www.w3.org/2001/XMLSchema" xmlns:p="http://schemas.microsoft.com/office/2006/metadata/properties" xmlns:ns2="c53071f4-7f44-43fd-895c-8e7b6a3746b0" xmlns:ns3="ead97cfe-a968-427f-b02b-893e6ba0355a" targetNamespace="http://schemas.microsoft.com/office/2006/metadata/properties" ma:root="true" ma:fieldsID="27039d98634059a90188b6cb8bc5e987" ns2:_="" ns3:_="">
    <xsd:import namespace="c53071f4-7f44-43fd-895c-8e7b6a3746b0"/>
    <xsd:import namespace="ead97cfe-a968-427f-b02b-893e6ba0355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_Flow_SignoffStatu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3071f4-7f44-43fd-895c-8e7b6a3746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_Flow_SignoffStatus" ma:index="21" nillable="true" ma:displayName="Sign-off status" ma:internalName="Sign_x002d_off_x0020_status">
      <xsd:simpleType>
        <xsd:restriction base="dms:Text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a407c16c-d400-4155-af4b-d0582c07d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97cfe-a968-427f-b02b-893e6ba0355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7b8b45f8-435e-402c-b129-c8853cba6318}" ma:internalName="TaxCatchAll" ma:showField="CatchAllData" ma:web="ead97cfe-a968-427f-b02b-893e6ba0355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c53071f4-7f44-43fd-895c-8e7b6a3746b0" xsi:nil="true"/>
    <_Flow_SignoffStatus xmlns="c53071f4-7f44-43fd-895c-8e7b6a3746b0" xsi:nil="true"/>
    <SharedWithUsers xmlns="ead97cfe-a968-427f-b02b-893e6ba0355a">
      <UserInfo>
        <DisplayName/>
        <AccountId xsi:nil="true"/>
        <AccountType/>
      </UserInfo>
    </SharedWithUsers>
    <TaxCatchAll xmlns="ead97cfe-a968-427f-b02b-893e6ba0355a" xsi:nil="true"/>
    <lcf76f155ced4ddcb4097134ff3c332f xmlns="c53071f4-7f44-43fd-895c-8e7b6a3746b0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229AB40-F358-4B1A-986D-FEFBCB7C788B}">
  <ds:schemaRefs>
    <ds:schemaRef ds:uri="c53071f4-7f44-43fd-895c-8e7b6a3746b0"/>
    <ds:schemaRef ds:uri="ead97cfe-a968-427f-b02b-893e6ba0355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0A84615-6D8B-4A8F-B9A5-3805127A3ACB}">
  <ds:schemaRefs>
    <ds:schemaRef ds:uri="c53071f4-7f44-43fd-895c-8e7b6a3746b0"/>
    <ds:schemaRef ds:uri="ead97cfe-a968-427f-b02b-893e6ba0355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39F3FD5-8BE4-4C63-8E08-C5A7A17FEE7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58</TotalTime>
  <Words>1758</Words>
  <Application>Microsoft Office PowerPoint</Application>
  <PresentationFormat>Widescreen</PresentationFormat>
  <Paragraphs>199</Paragraphs>
  <Slides>26</Slides>
  <Notes>1</Notes>
  <HiddenSlides>0</HiddenSlides>
  <MMClips>2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4" baseType="lpstr">
      <vt:lpstr>Arial</vt:lpstr>
      <vt:lpstr>Calibri</vt:lpstr>
      <vt:lpstr>Times New Roman</vt:lpstr>
      <vt:lpstr>Office Theme</vt:lpstr>
      <vt:lpstr>Custom Design</vt:lpstr>
      <vt:lpstr>1_Custom Design</vt:lpstr>
      <vt:lpstr>3_Custom Design</vt:lpstr>
      <vt:lpstr>think-cell Slide</vt:lpstr>
      <vt:lpstr>Gelation and gelatinisation</vt:lpstr>
      <vt:lpstr>Introduction – what is a gel?</vt:lpstr>
      <vt:lpstr>Foods that are gels</vt:lpstr>
      <vt:lpstr>Gelation in food</vt:lpstr>
      <vt:lpstr>The science of gelation - gelatine</vt:lpstr>
      <vt:lpstr>Gelatine</vt:lpstr>
      <vt:lpstr>Applying the science - gelatine</vt:lpstr>
      <vt:lpstr>The science of gelation – making jelly</vt:lpstr>
      <vt:lpstr>Gelatinisation</vt:lpstr>
      <vt:lpstr>Foods made by gelatinisation</vt:lpstr>
      <vt:lpstr>Gelatinisation in food</vt:lpstr>
      <vt:lpstr>The science of gelatinisation - roux</vt:lpstr>
      <vt:lpstr>Applying the science – white sauce</vt:lpstr>
      <vt:lpstr>Key words </vt:lpstr>
      <vt:lpstr>Teachers’ guide</vt:lpstr>
      <vt:lpstr>Teaching about gelation and gelatinisation: </vt:lpstr>
      <vt:lpstr>Introduction - gelation</vt:lpstr>
      <vt:lpstr>Gelatine</vt:lpstr>
      <vt:lpstr>Applying the science - gelatine</vt:lpstr>
      <vt:lpstr>The science of gelation </vt:lpstr>
      <vt:lpstr>Gelatinisation</vt:lpstr>
      <vt:lpstr>Applying the science – white sauce</vt:lpstr>
      <vt:lpstr>Activities</vt:lpstr>
      <vt:lpstr>Further supporting resources </vt:lpstr>
      <vt:lpstr>Recipes</vt:lpstr>
      <vt:lpstr>Gelation and gelatinis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 social!</dc:title>
  <dc:creator>Glenn Carter</dc:creator>
  <cp:lastModifiedBy>Ewen Trafford</cp:lastModifiedBy>
  <cp:revision>1742</cp:revision>
  <dcterms:created xsi:type="dcterms:W3CDTF">2018-10-10T09:22:08Z</dcterms:created>
  <dcterms:modified xsi:type="dcterms:W3CDTF">2022-12-22T10:13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D5B78CA333243439763E4169A5FEB7F</vt:lpwstr>
  </property>
  <property fmtid="{D5CDD505-2E9C-101B-9397-08002B2CF9AE}" pid="3" name="Order">
    <vt:r8>551200</vt:r8>
  </property>
  <property fmtid="{D5CDD505-2E9C-101B-9397-08002B2CF9AE}" pid="4" name="_ExtendedDescription">
    <vt:lpwstr/>
  </property>
  <property fmtid="{D5CDD505-2E9C-101B-9397-08002B2CF9AE}" pid="5" name="ComplianceAssetId">
    <vt:lpwstr/>
  </property>
  <property fmtid="{D5CDD505-2E9C-101B-9397-08002B2CF9AE}" pid="6" name="TriggerFlowInfo">
    <vt:lpwstr/>
  </property>
  <property fmtid="{D5CDD505-2E9C-101B-9397-08002B2CF9AE}" pid="7" name="MediaServiceImageTags">
    <vt:lpwstr/>
  </property>
</Properties>
</file>